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0" r:id="rId2"/>
  </p:sldMasterIdLst>
  <p:notesMasterIdLst>
    <p:notesMasterId r:id="rId17"/>
  </p:notesMasterIdLst>
  <p:handoutMasterIdLst>
    <p:handoutMasterId r:id="rId18"/>
  </p:handoutMasterIdLst>
  <p:sldIdLst>
    <p:sldId id="256" r:id="rId3"/>
    <p:sldId id="258" r:id="rId4"/>
    <p:sldId id="266" r:id="rId5"/>
    <p:sldId id="304" r:id="rId6"/>
    <p:sldId id="265" r:id="rId7"/>
    <p:sldId id="305" r:id="rId8"/>
    <p:sldId id="306" r:id="rId9"/>
    <p:sldId id="308" r:id="rId10"/>
    <p:sldId id="307" r:id="rId11"/>
    <p:sldId id="310" r:id="rId12"/>
    <p:sldId id="311" r:id="rId13"/>
    <p:sldId id="312" r:id="rId14"/>
    <p:sldId id="313" r:id="rId15"/>
    <p:sldId id="309" r:id="rId16"/>
  </p:sldIdLst>
  <p:sldSz cx="9144000" cy="5143500" type="screen16x9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90E67"/>
    <a:srgbClr val="8E481F"/>
    <a:srgbClr val="FFD044"/>
    <a:srgbClr val="007934"/>
    <a:srgbClr val="FFFFFF"/>
    <a:srgbClr val="003B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F2DE63D5-997A-4646-A377-4702673A728D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Stijl, licht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Stijl, licht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076" autoAdjust="0"/>
  </p:normalViewPr>
  <p:slideViewPr>
    <p:cSldViewPr snapToGrid="0" showGuides="1">
      <p:cViewPr varScale="1">
        <p:scale>
          <a:sx n="95" d="100"/>
          <a:sy n="95" d="100"/>
        </p:scale>
        <p:origin x="1062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324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23757EA-1A2A-4A25-9F4C-C8DEBADEF3B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nl-NL"/>
        </a:p>
      </dgm:t>
    </dgm:pt>
    <dgm:pt modelId="{CA0E9592-CDD0-472F-BC40-B08EFA969B95}">
      <dgm:prSet/>
      <dgm:spPr/>
      <dgm:t>
        <a:bodyPr/>
        <a:lstStyle/>
        <a:p>
          <a:r>
            <a:rPr lang="nl-NL"/>
            <a:t>Als ik word gecremeerd, wordt bij de oven de kist verwijderd, de kist wordt niet mee gecremeerd.</a:t>
          </a:r>
        </a:p>
      </dgm:t>
    </dgm:pt>
    <dgm:pt modelId="{97DCB9B4-B463-403B-B7E2-58DDE377467C}" type="parTrans" cxnId="{3874B9CB-4140-4A33-AB55-8BA80172C375}">
      <dgm:prSet/>
      <dgm:spPr/>
      <dgm:t>
        <a:bodyPr/>
        <a:lstStyle/>
        <a:p>
          <a:endParaRPr lang="nl-NL"/>
        </a:p>
      </dgm:t>
    </dgm:pt>
    <dgm:pt modelId="{56CFDEAC-7558-4A4F-B90A-0440EDC66724}" type="sibTrans" cxnId="{3874B9CB-4140-4A33-AB55-8BA80172C375}">
      <dgm:prSet/>
      <dgm:spPr/>
      <dgm:t>
        <a:bodyPr/>
        <a:lstStyle/>
        <a:p>
          <a:endParaRPr lang="nl-NL"/>
        </a:p>
      </dgm:t>
    </dgm:pt>
    <dgm:pt modelId="{E327DDEF-BD74-4DEE-89C1-693333E97C5E}">
      <dgm:prSet/>
      <dgm:spPr/>
      <dgm:t>
        <a:bodyPr/>
        <a:lstStyle/>
        <a:p>
          <a:r>
            <a:rPr lang="nl-NL"/>
            <a:t>Na mijn overlijden, groeien mijn nagels en haren nog even door. </a:t>
          </a:r>
        </a:p>
      </dgm:t>
    </dgm:pt>
    <dgm:pt modelId="{2EEAF5EA-9DAE-4680-8677-09C0313C6FE3}" type="parTrans" cxnId="{3AEAD3E9-B3BD-4713-802E-785443D35E40}">
      <dgm:prSet/>
      <dgm:spPr/>
      <dgm:t>
        <a:bodyPr/>
        <a:lstStyle/>
        <a:p>
          <a:endParaRPr lang="nl-NL"/>
        </a:p>
      </dgm:t>
    </dgm:pt>
    <dgm:pt modelId="{0245FE0C-7260-4E64-AA55-09350921483A}" type="sibTrans" cxnId="{3AEAD3E9-B3BD-4713-802E-785443D35E40}">
      <dgm:prSet/>
      <dgm:spPr/>
      <dgm:t>
        <a:bodyPr/>
        <a:lstStyle/>
        <a:p>
          <a:endParaRPr lang="nl-NL"/>
        </a:p>
      </dgm:t>
    </dgm:pt>
    <dgm:pt modelId="{D7195687-7FC1-41BC-85CF-840BB37587DD}">
      <dgm:prSet/>
      <dgm:spPr/>
      <dgm:t>
        <a:bodyPr/>
        <a:lstStyle/>
        <a:p>
          <a:r>
            <a:rPr lang="nl-NL"/>
            <a:t>Meerdere overledenen mogen niet gelijktijdig gecremeerd worden (bijvoorbeeld overleden echtpaar)</a:t>
          </a:r>
        </a:p>
      </dgm:t>
    </dgm:pt>
    <dgm:pt modelId="{7E1075B1-5EE2-4D94-9F7C-1DA373775A29}" type="parTrans" cxnId="{0B68F7E2-AF94-4174-94A0-D615115D57ED}">
      <dgm:prSet/>
      <dgm:spPr/>
      <dgm:t>
        <a:bodyPr/>
        <a:lstStyle/>
        <a:p>
          <a:endParaRPr lang="nl-NL"/>
        </a:p>
      </dgm:t>
    </dgm:pt>
    <dgm:pt modelId="{8E69B9B4-FF35-4988-ABC3-75E6AB9E21C9}" type="sibTrans" cxnId="{0B68F7E2-AF94-4174-94A0-D615115D57ED}">
      <dgm:prSet/>
      <dgm:spPr/>
      <dgm:t>
        <a:bodyPr/>
        <a:lstStyle/>
        <a:p>
          <a:endParaRPr lang="nl-NL"/>
        </a:p>
      </dgm:t>
    </dgm:pt>
    <dgm:pt modelId="{6C2C5BCA-B1CF-4F2F-B57C-B2D842D5E58A}" type="pres">
      <dgm:prSet presAssocID="{723757EA-1A2A-4A25-9F4C-C8DEBADEF3BC}" presName="linear" presStyleCnt="0">
        <dgm:presLayoutVars>
          <dgm:animLvl val="lvl"/>
          <dgm:resizeHandles val="exact"/>
        </dgm:presLayoutVars>
      </dgm:prSet>
      <dgm:spPr/>
    </dgm:pt>
    <dgm:pt modelId="{55D70733-95C3-46F0-8C37-EBA7D6E6688A}" type="pres">
      <dgm:prSet presAssocID="{CA0E9592-CDD0-472F-BC40-B08EFA969B95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3D5DAE05-40E0-48ED-BCBC-A5D8791B37B8}" type="pres">
      <dgm:prSet presAssocID="{56CFDEAC-7558-4A4F-B90A-0440EDC66724}" presName="spacer" presStyleCnt="0"/>
      <dgm:spPr/>
    </dgm:pt>
    <dgm:pt modelId="{FF70A617-AF9D-488F-B357-9488E847FC80}" type="pres">
      <dgm:prSet presAssocID="{E327DDEF-BD74-4DEE-89C1-693333E97C5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1072AC6-1EEF-4CCA-B9FC-4A937B0380F4}" type="pres">
      <dgm:prSet presAssocID="{0245FE0C-7260-4E64-AA55-09350921483A}" presName="spacer" presStyleCnt="0"/>
      <dgm:spPr/>
    </dgm:pt>
    <dgm:pt modelId="{A016D26A-E64A-420C-99A7-AB616F31DBA2}" type="pres">
      <dgm:prSet presAssocID="{D7195687-7FC1-41BC-85CF-840BB37587DD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3FDF4632-E6DA-4B4C-904D-CF5EE6A341FF}" type="presOf" srcId="{CA0E9592-CDD0-472F-BC40-B08EFA969B95}" destId="{55D70733-95C3-46F0-8C37-EBA7D6E6688A}" srcOrd="0" destOrd="0" presId="urn:microsoft.com/office/officeart/2005/8/layout/vList2"/>
    <dgm:cxn modelId="{2A67C54D-9519-4D09-B244-BCA4CBF740A2}" type="presOf" srcId="{D7195687-7FC1-41BC-85CF-840BB37587DD}" destId="{A016D26A-E64A-420C-99A7-AB616F31DBA2}" srcOrd="0" destOrd="0" presId="urn:microsoft.com/office/officeart/2005/8/layout/vList2"/>
    <dgm:cxn modelId="{3874B9CB-4140-4A33-AB55-8BA80172C375}" srcId="{723757EA-1A2A-4A25-9F4C-C8DEBADEF3BC}" destId="{CA0E9592-CDD0-472F-BC40-B08EFA969B95}" srcOrd="0" destOrd="0" parTransId="{97DCB9B4-B463-403B-B7E2-58DDE377467C}" sibTransId="{56CFDEAC-7558-4A4F-B90A-0440EDC66724}"/>
    <dgm:cxn modelId="{92B91CD6-924B-467C-89A2-D2A2A83A37E6}" type="presOf" srcId="{723757EA-1A2A-4A25-9F4C-C8DEBADEF3BC}" destId="{6C2C5BCA-B1CF-4F2F-B57C-B2D842D5E58A}" srcOrd="0" destOrd="0" presId="urn:microsoft.com/office/officeart/2005/8/layout/vList2"/>
    <dgm:cxn modelId="{0B68F7E2-AF94-4174-94A0-D615115D57ED}" srcId="{723757EA-1A2A-4A25-9F4C-C8DEBADEF3BC}" destId="{D7195687-7FC1-41BC-85CF-840BB37587DD}" srcOrd="2" destOrd="0" parTransId="{7E1075B1-5EE2-4D94-9F7C-1DA373775A29}" sibTransId="{8E69B9B4-FF35-4988-ABC3-75E6AB9E21C9}"/>
    <dgm:cxn modelId="{3AEAD3E9-B3BD-4713-802E-785443D35E40}" srcId="{723757EA-1A2A-4A25-9F4C-C8DEBADEF3BC}" destId="{E327DDEF-BD74-4DEE-89C1-693333E97C5E}" srcOrd="1" destOrd="0" parTransId="{2EEAF5EA-9DAE-4680-8677-09C0313C6FE3}" sibTransId="{0245FE0C-7260-4E64-AA55-09350921483A}"/>
    <dgm:cxn modelId="{75F94AF4-F089-4AF2-BB28-034BC2DC5635}" type="presOf" srcId="{E327DDEF-BD74-4DEE-89C1-693333E97C5E}" destId="{FF70A617-AF9D-488F-B357-9488E847FC80}" srcOrd="0" destOrd="0" presId="urn:microsoft.com/office/officeart/2005/8/layout/vList2"/>
    <dgm:cxn modelId="{F7236BB4-6240-4CA1-B653-6F6B1EA25B8E}" type="presParOf" srcId="{6C2C5BCA-B1CF-4F2F-B57C-B2D842D5E58A}" destId="{55D70733-95C3-46F0-8C37-EBA7D6E6688A}" srcOrd="0" destOrd="0" presId="urn:microsoft.com/office/officeart/2005/8/layout/vList2"/>
    <dgm:cxn modelId="{7DD38FB4-9156-4817-81F1-F3435E1C0939}" type="presParOf" srcId="{6C2C5BCA-B1CF-4F2F-B57C-B2D842D5E58A}" destId="{3D5DAE05-40E0-48ED-BCBC-A5D8791B37B8}" srcOrd="1" destOrd="0" presId="urn:microsoft.com/office/officeart/2005/8/layout/vList2"/>
    <dgm:cxn modelId="{EB8BA41F-73BD-4779-9E1C-71D26BE15B07}" type="presParOf" srcId="{6C2C5BCA-B1CF-4F2F-B57C-B2D842D5E58A}" destId="{FF70A617-AF9D-488F-B357-9488E847FC80}" srcOrd="2" destOrd="0" presId="urn:microsoft.com/office/officeart/2005/8/layout/vList2"/>
    <dgm:cxn modelId="{09218312-0ED6-4C90-8492-61778BAA809C}" type="presParOf" srcId="{6C2C5BCA-B1CF-4F2F-B57C-B2D842D5E58A}" destId="{71072AC6-1EEF-4CCA-B9FC-4A937B0380F4}" srcOrd="3" destOrd="0" presId="urn:microsoft.com/office/officeart/2005/8/layout/vList2"/>
    <dgm:cxn modelId="{F9E72FAE-553F-41D1-88F9-8686A57F7527}" type="presParOf" srcId="{6C2C5BCA-B1CF-4F2F-B57C-B2D842D5E58A}" destId="{A016D26A-E64A-420C-99A7-AB616F31DBA2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F25F0CF-B86E-4B9D-9AEE-AA2570C9000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nl-NL"/>
        </a:p>
      </dgm:t>
    </dgm:pt>
    <dgm:pt modelId="{27DE34BF-63A5-4E18-A311-8E67692D9209}">
      <dgm:prSet/>
      <dgm:spPr/>
      <dgm:t>
        <a:bodyPr/>
        <a:lstStyle/>
        <a:p>
          <a:r>
            <a:rPr lang="nl-NL"/>
            <a:t>Boekje “Zo wil ik het graag”</a:t>
          </a:r>
        </a:p>
      </dgm:t>
    </dgm:pt>
    <dgm:pt modelId="{517850A6-B25E-416B-9E62-9177B137BE9B}" type="parTrans" cxnId="{2199CE32-1F84-4E6E-94BD-82FC734F26E0}">
      <dgm:prSet/>
      <dgm:spPr/>
      <dgm:t>
        <a:bodyPr/>
        <a:lstStyle/>
        <a:p>
          <a:endParaRPr lang="nl-NL"/>
        </a:p>
      </dgm:t>
    </dgm:pt>
    <dgm:pt modelId="{8AADEECB-F648-4C70-B384-8A195D11F872}" type="sibTrans" cxnId="{2199CE32-1F84-4E6E-94BD-82FC734F26E0}">
      <dgm:prSet/>
      <dgm:spPr/>
      <dgm:t>
        <a:bodyPr/>
        <a:lstStyle/>
        <a:p>
          <a:endParaRPr lang="nl-NL"/>
        </a:p>
      </dgm:t>
    </dgm:pt>
    <dgm:pt modelId="{0FF83C31-831B-4179-B364-92668DD3F644}">
      <dgm:prSet/>
      <dgm:spPr/>
      <dgm:t>
        <a:bodyPr/>
        <a:lstStyle/>
        <a:p>
          <a:r>
            <a:rPr lang="nl-NL"/>
            <a:t>Voor DELA verzekerden: “Mijn DELA” (digitaal)</a:t>
          </a:r>
        </a:p>
      </dgm:t>
    </dgm:pt>
    <dgm:pt modelId="{D70DA15D-48E3-40B1-940D-B66AEA46295B}" type="parTrans" cxnId="{56B7C8C0-B75F-4834-8D65-6CC86EF29BF7}">
      <dgm:prSet/>
      <dgm:spPr/>
      <dgm:t>
        <a:bodyPr/>
        <a:lstStyle/>
        <a:p>
          <a:endParaRPr lang="nl-NL"/>
        </a:p>
      </dgm:t>
    </dgm:pt>
    <dgm:pt modelId="{C416E593-2EF6-4207-ACE8-5DCEDB5BFB8F}" type="sibTrans" cxnId="{56B7C8C0-B75F-4834-8D65-6CC86EF29BF7}">
      <dgm:prSet/>
      <dgm:spPr/>
      <dgm:t>
        <a:bodyPr/>
        <a:lstStyle/>
        <a:p>
          <a:endParaRPr lang="nl-NL"/>
        </a:p>
      </dgm:t>
    </dgm:pt>
    <dgm:pt modelId="{E5566F52-B81D-4A32-8FCF-0A88430E5030}">
      <dgm:prSet/>
      <dgm:spPr/>
      <dgm:t>
        <a:bodyPr/>
        <a:lstStyle/>
        <a:p>
          <a:r>
            <a:rPr lang="nl-NL"/>
            <a:t>Kosteloze voorbespreking en wensendocument                       </a:t>
          </a:r>
        </a:p>
      </dgm:t>
    </dgm:pt>
    <dgm:pt modelId="{D68DD262-C248-44FC-9136-D56C1A537C58}" type="parTrans" cxnId="{5DCE376F-88A2-4BAC-B65A-F2B0A0EFC98C}">
      <dgm:prSet/>
      <dgm:spPr/>
      <dgm:t>
        <a:bodyPr/>
        <a:lstStyle/>
        <a:p>
          <a:endParaRPr lang="nl-NL"/>
        </a:p>
      </dgm:t>
    </dgm:pt>
    <dgm:pt modelId="{DF957FB8-8F67-451B-9CEC-1CBD605E7D9F}" type="sibTrans" cxnId="{5DCE376F-88A2-4BAC-B65A-F2B0A0EFC98C}">
      <dgm:prSet/>
      <dgm:spPr/>
      <dgm:t>
        <a:bodyPr/>
        <a:lstStyle/>
        <a:p>
          <a:endParaRPr lang="nl-NL"/>
        </a:p>
      </dgm:t>
    </dgm:pt>
    <dgm:pt modelId="{D556D3CD-C6BD-4361-869B-E095AC3413F6}" type="pres">
      <dgm:prSet presAssocID="{5F25F0CF-B86E-4B9D-9AEE-AA2570C90000}" presName="Name0" presStyleCnt="0">
        <dgm:presLayoutVars>
          <dgm:dir/>
          <dgm:animLvl val="lvl"/>
          <dgm:resizeHandles val="exact"/>
        </dgm:presLayoutVars>
      </dgm:prSet>
      <dgm:spPr/>
    </dgm:pt>
    <dgm:pt modelId="{4E388561-02E0-4DB7-BD2D-0F574CC38B74}" type="pres">
      <dgm:prSet presAssocID="{27DE34BF-63A5-4E18-A311-8E67692D9209}" presName="linNode" presStyleCnt="0"/>
      <dgm:spPr/>
    </dgm:pt>
    <dgm:pt modelId="{8F9337D1-FB0C-49EE-8237-5CD757C95E4B}" type="pres">
      <dgm:prSet presAssocID="{27DE34BF-63A5-4E18-A311-8E67692D9209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48810A9A-4515-45F8-8947-D32D238A0E1F}" type="pres">
      <dgm:prSet presAssocID="{8AADEECB-F648-4C70-B384-8A195D11F872}" presName="sp" presStyleCnt="0"/>
      <dgm:spPr/>
    </dgm:pt>
    <dgm:pt modelId="{D4EBF9BD-AAB8-4A2B-A8C5-CCBC09118EEA}" type="pres">
      <dgm:prSet presAssocID="{0FF83C31-831B-4179-B364-92668DD3F644}" presName="linNode" presStyleCnt="0"/>
      <dgm:spPr/>
    </dgm:pt>
    <dgm:pt modelId="{5331EDD1-17AF-4F03-A973-6D3E5CEDD195}" type="pres">
      <dgm:prSet presAssocID="{0FF83C31-831B-4179-B364-92668DD3F644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29E5786A-E132-4ECC-A726-C02ECA77BEBC}" type="pres">
      <dgm:prSet presAssocID="{C416E593-2EF6-4207-ACE8-5DCEDB5BFB8F}" presName="sp" presStyleCnt="0"/>
      <dgm:spPr/>
    </dgm:pt>
    <dgm:pt modelId="{355F1AF9-2B68-48CA-8FFD-6DD58C768A26}" type="pres">
      <dgm:prSet presAssocID="{E5566F52-B81D-4A32-8FCF-0A88430E5030}" presName="linNode" presStyleCnt="0"/>
      <dgm:spPr/>
    </dgm:pt>
    <dgm:pt modelId="{E02AA75A-133A-4BD6-AA0D-2C02E5F73450}" type="pres">
      <dgm:prSet presAssocID="{E5566F52-B81D-4A32-8FCF-0A88430E5030}" presName="parentText" presStyleLbl="node1" presStyleIdx="2" presStyleCnt="3">
        <dgm:presLayoutVars>
          <dgm:chMax val="1"/>
          <dgm:bulletEnabled val="1"/>
        </dgm:presLayoutVars>
      </dgm:prSet>
      <dgm:spPr/>
    </dgm:pt>
  </dgm:ptLst>
  <dgm:cxnLst>
    <dgm:cxn modelId="{2199CE32-1F84-4E6E-94BD-82FC734F26E0}" srcId="{5F25F0CF-B86E-4B9D-9AEE-AA2570C90000}" destId="{27DE34BF-63A5-4E18-A311-8E67692D9209}" srcOrd="0" destOrd="0" parTransId="{517850A6-B25E-416B-9E62-9177B137BE9B}" sibTransId="{8AADEECB-F648-4C70-B384-8A195D11F872}"/>
    <dgm:cxn modelId="{000E203F-2D44-4165-BADF-623B99E3DE4A}" type="presOf" srcId="{E5566F52-B81D-4A32-8FCF-0A88430E5030}" destId="{E02AA75A-133A-4BD6-AA0D-2C02E5F73450}" srcOrd="0" destOrd="0" presId="urn:microsoft.com/office/officeart/2005/8/layout/vList5"/>
    <dgm:cxn modelId="{4800BE3F-B813-47E3-B38C-8064082E176E}" type="presOf" srcId="{0FF83C31-831B-4179-B364-92668DD3F644}" destId="{5331EDD1-17AF-4F03-A973-6D3E5CEDD195}" srcOrd="0" destOrd="0" presId="urn:microsoft.com/office/officeart/2005/8/layout/vList5"/>
    <dgm:cxn modelId="{5DCE376F-88A2-4BAC-B65A-F2B0A0EFC98C}" srcId="{5F25F0CF-B86E-4B9D-9AEE-AA2570C90000}" destId="{E5566F52-B81D-4A32-8FCF-0A88430E5030}" srcOrd="2" destOrd="0" parTransId="{D68DD262-C248-44FC-9136-D56C1A537C58}" sibTransId="{DF957FB8-8F67-451B-9CEC-1CBD605E7D9F}"/>
    <dgm:cxn modelId="{D6FFA87D-0F33-490A-9723-302F9822DA7B}" type="presOf" srcId="{5F25F0CF-B86E-4B9D-9AEE-AA2570C90000}" destId="{D556D3CD-C6BD-4361-869B-E095AC3413F6}" srcOrd="0" destOrd="0" presId="urn:microsoft.com/office/officeart/2005/8/layout/vList5"/>
    <dgm:cxn modelId="{98AC29A6-317E-4449-944E-C77A388D1BBF}" type="presOf" srcId="{27DE34BF-63A5-4E18-A311-8E67692D9209}" destId="{8F9337D1-FB0C-49EE-8237-5CD757C95E4B}" srcOrd="0" destOrd="0" presId="urn:microsoft.com/office/officeart/2005/8/layout/vList5"/>
    <dgm:cxn modelId="{56B7C8C0-B75F-4834-8D65-6CC86EF29BF7}" srcId="{5F25F0CF-B86E-4B9D-9AEE-AA2570C90000}" destId="{0FF83C31-831B-4179-B364-92668DD3F644}" srcOrd="1" destOrd="0" parTransId="{D70DA15D-48E3-40B1-940D-B66AEA46295B}" sibTransId="{C416E593-2EF6-4207-ACE8-5DCEDB5BFB8F}"/>
    <dgm:cxn modelId="{EC3C7E08-9647-4685-AD90-8138D064FB66}" type="presParOf" srcId="{D556D3CD-C6BD-4361-869B-E095AC3413F6}" destId="{4E388561-02E0-4DB7-BD2D-0F574CC38B74}" srcOrd="0" destOrd="0" presId="urn:microsoft.com/office/officeart/2005/8/layout/vList5"/>
    <dgm:cxn modelId="{2C3C11F2-C2A4-4368-BF2B-3321FFE53E5D}" type="presParOf" srcId="{4E388561-02E0-4DB7-BD2D-0F574CC38B74}" destId="{8F9337D1-FB0C-49EE-8237-5CD757C95E4B}" srcOrd="0" destOrd="0" presId="urn:microsoft.com/office/officeart/2005/8/layout/vList5"/>
    <dgm:cxn modelId="{B07B674F-8685-42C1-937D-5690023FAE9D}" type="presParOf" srcId="{D556D3CD-C6BD-4361-869B-E095AC3413F6}" destId="{48810A9A-4515-45F8-8947-D32D238A0E1F}" srcOrd="1" destOrd="0" presId="urn:microsoft.com/office/officeart/2005/8/layout/vList5"/>
    <dgm:cxn modelId="{78955E91-7EAE-4007-94B6-DD08089BDD7E}" type="presParOf" srcId="{D556D3CD-C6BD-4361-869B-E095AC3413F6}" destId="{D4EBF9BD-AAB8-4A2B-A8C5-CCBC09118EEA}" srcOrd="2" destOrd="0" presId="urn:microsoft.com/office/officeart/2005/8/layout/vList5"/>
    <dgm:cxn modelId="{CF049E6D-C67E-4DDB-8BDB-FAB28C01F255}" type="presParOf" srcId="{D4EBF9BD-AAB8-4A2B-A8C5-CCBC09118EEA}" destId="{5331EDD1-17AF-4F03-A973-6D3E5CEDD195}" srcOrd="0" destOrd="0" presId="urn:microsoft.com/office/officeart/2005/8/layout/vList5"/>
    <dgm:cxn modelId="{7E6C482D-81A1-4C39-BF02-B6F3EEB3DDE4}" type="presParOf" srcId="{D556D3CD-C6BD-4361-869B-E095AC3413F6}" destId="{29E5786A-E132-4ECC-A726-C02ECA77BEBC}" srcOrd="3" destOrd="0" presId="urn:microsoft.com/office/officeart/2005/8/layout/vList5"/>
    <dgm:cxn modelId="{EE1CA57D-8D50-4DB8-9514-611F72C4F94F}" type="presParOf" srcId="{D556D3CD-C6BD-4361-869B-E095AC3413F6}" destId="{355F1AF9-2B68-48CA-8FFD-6DD58C768A26}" srcOrd="4" destOrd="0" presId="urn:microsoft.com/office/officeart/2005/8/layout/vList5"/>
    <dgm:cxn modelId="{C9A3E93F-C73B-4F64-9773-1C0A26DB6288}" type="presParOf" srcId="{355F1AF9-2B68-48CA-8FFD-6DD58C768A26}" destId="{E02AA75A-133A-4BD6-AA0D-2C02E5F73450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D70733-95C3-46F0-8C37-EBA7D6E6688A}">
      <dsp:nvSpPr>
        <dsp:cNvPr id="0" name=""/>
        <dsp:cNvSpPr/>
      </dsp:nvSpPr>
      <dsp:spPr>
        <a:xfrm>
          <a:off x="0" y="23907"/>
          <a:ext cx="6661150" cy="103925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900" kern="1200"/>
            <a:t>Als ik word gecremeerd, wordt bij de oven de kist verwijderd, de kist wordt niet mee gecremeerd.</a:t>
          </a:r>
        </a:p>
      </dsp:txBody>
      <dsp:txXfrm>
        <a:off x="50732" y="74639"/>
        <a:ext cx="6559686" cy="937788"/>
      </dsp:txXfrm>
    </dsp:sp>
    <dsp:sp modelId="{FF70A617-AF9D-488F-B357-9488E847FC80}">
      <dsp:nvSpPr>
        <dsp:cNvPr id="0" name=""/>
        <dsp:cNvSpPr/>
      </dsp:nvSpPr>
      <dsp:spPr>
        <a:xfrm>
          <a:off x="0" y="1117880"/>
          <a:ext cx="6661150" cy="103925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900" kern="1200"/>
            <a:t>Na mijn overlijden, groeien mijn nagels en haren nog even door. </a:t>
          </a:r>
        </a:p>
      </dsp:txBody>
      <dsp:txXfrm>
        <a:off x="50732" y="1168612"/>
        <a:ext cx="6559686" cy="937788"/>
      </dsp:txXfrm>
    </dsp:sp>
    <dsp:sp modelId="{A016D26A-E64A-420C-99A7-AB616F31DBA2}">
      <dsp:nvSpPr>
        <dsp:cNvPr id="0" name=""/>
        <dsp:cNvSpPr/>
      </dsp:nvSpPr>
      <dsp:spPr>
        <a:xfrm>
          <a:off x="0" y="2211852"/>
          <a:ext cx="6661150" cy="103925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900" kern="1200"/>
            <a:t>Meerdere overledenen mogen niet gelijktijdig gecremeerd worden (bijvoorbeeld overleden echtpaar)</a:t>
          </a:r>
        </a:p>
      </dsp:txBody>
      <dsp:txXfrm>
        <a:off x="50732" y="2262584"/>
        <a:ext cx="6559686" cy="9377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9337D1-FB0C-49EE-8237-5CD757C95E4B}">
      <dsp:nvSpPr>
        <dsp:cNvPr id="0" name=""/>
        <dsp:cNvSpPr/>
      </dsp:nvSpPr>
      <dsp:spPr>
        <a:xfrm>
          <a:off x="2131567" y="1599"/>
          <a:ext cx="2398014" cy="10554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700" kern="1200"/>
            <a:t>Boekje “Zo wil ik het graag”</a:t>
          </a:r>
        </a:p>
      </dsp:txBody>
      <dsp:txXfrm>
        <a:off x="2183089" y="53121"/>
        <a:ext cx="2294970" cy="952380"/>
      </dsp:txXfrm>
    </dsp:sp>
    <dsp:sp modelId="{5331EDD1-17AF-4F03-A973-6D3E5CEDD195}">
      <dsp:nvSpPr>
        <dsp:cNvPr id="0" name=""/>
        <dsp:cNvSpPr/>
      </dsp:nvSpPr>
      <dsp:spPr>
        <a:xfrm>
          <a:off x="2131567" y="1109794"/>
          <a:ext cx="2398014" cy="10554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700" kern="1200"/>
            <a:t>Voor DELA verzekerden: “Mijn DELA” (digitaal)</a:t>
          </a:r>
        </a:p>
      </dsp:txBody>
      <dsp:txXfrm>
        <a:off x="2183089" y="1161316"/>
        <a:ext cx="2294970" cy="952380"/>
      </dsp:txXfrm>
    </dsp:sp>
    <dsp:sp modelId="{E02AA75A-133A-4BD6-AA0D-2C02E5F73450}">
      <dsp:nvSpPr>
        <dsp:cNvPr id="0" name=""/>
        <dsp:cNvSpPr/>
      </dsp:nvSpPr>
      <dsp:spPr>
        <a:xfrm>
          <a:off x="2131567" y="2217989"/>
          <a:ext cx="2398014" cy="10554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32385" rIns="6477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700" kern="1200"/>
            <a:t>Kosteloze voorbespreking en wensendocument                       </a:t>
          </a:r>
        </a:p>
      </dsp:txBody>
      <dsp:txXfrm>
        <a:off x="2183089" y="2269511"/>
        <a:ext cx="2294970" cy="9523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11FF57AD-B1FB-4AAF-906F-FAE228B41D8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8BDC9FB7-C599-4E13-A9D2-61795633B7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FF5099-C7CC-435F-9796-0BDDBAC11040}" type="datetimeFigureOut">
              <a:rPr lang="nl-NL" sz="1000" smtClean="0"/>
              <a:t>15-10-2019</a:t>
            </a:fld>
            <a:endParaRPr lang="nl-NL" sz="100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D60D451-793E-43CC-837C-31B13EE09E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7889217-16A6-4F64-A8CA-C82C2F09F29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EF9DB3-ABA5-4AAC-B936-350BDBEA264B}" type="slidenum">
              <a:rPr lang="nl-NL" sz="1000" smtClean="0"/>
              <a:t>‹nr.›</a:t>
            </a:fld>
            <a:endParaRPr lang="nl-NL" sz="1000"/>
          </a:p>
        </p:txBody>
      </p:sp>
    </p:spTree>
    <p:extLst>
      <p:ext uri="{BB962C8B-B14F-4D97-AF65-F5344CB8AC3E}">
        <p14:creationId xmlns:p14="http://schemas.microsoft.com/office/powerpoint/2010/main" val="18634015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A107799-9AA8-4158-A6BF-50454B0C6F3F}" type="datetimeFigureOut">
              <a:rPr lang="nl-NL" smtClean="0"/>
              <a:pPr/>
              <a:t>15-10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A32FE62-3121-4406-9C8E-AFD3BE270706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22913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.xml"/><Relationship Id="rId7" Type="http://schemas.openxmlformats.org/officeDocument/2006/relationships/image" Target="../media/image6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3.xml"/><Relationship Id="rId7" Type="http://schemas.openxmlformats.org/officeDocument/2006/relationships/image" Target="../media/image14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5.xml"/><Relationship Id="rId7" Type="http://schemas.openxmlformats.org/officeDocument/2006/relationships/image" Target="../media/image15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7.xml"/><Relationship Id="rId7" Type="http://schemas.openxmlformats.org/officeDocument/2006/relationships/image" Target="../media/image1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7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7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7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7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7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7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7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.xml"/><Relationship Id="rId7" Type="http://schemas.openxmlformats.org/officeDocument/2006/relationships/image" Target="../media/image8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7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7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7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7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7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7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7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7.emf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7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7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9.xml"/><Relationship Id="rId7" Type="http://schemas.openxmlformats.org/officeDocument/2006/relationships/image" Target="../media/image9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7.emf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7.emf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7.emf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7.emf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7.emf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7.emf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7.emf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0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81.xml"/><Relationship Id="rId7" Type="http://schemas.openxmlformats.org/officeDocument/2006/relationships/image" Target="../media/image6.jpeg"/><Relationship Id="rId2" Type="http://schemas.openxmlformats.org/officeDocument/2006/relationships/tags" Target="../tags/tag80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83.xml"/><Relationship Id="rId7" Type="http://schemas.openxmlformats.org/officeDocument/2006/relationships/image" Target="../media/image18.jpeg"/><Relationship Id="rId2" Type="http://schemas.openxmlformats.org/officeDocument/2006/relationships/tags" Target="../tags/tag82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85.xml"/><Relationship Id="rId7" Type="http://schemas.openxmlformats.org/officeDocument/2006/relationships/image" Target="../media/image19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10" Type="http://schemas.openxmlformats.org/officeDocument/2006/relationships/image" Target="../media/image22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1.emf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87.xml"/><Relationship Id="rId7" Type="http://schemas.openxmlformats.org/officeDocument/2006/relationships/image" Target="../media/image23.png"/><Relationship Id="rId12" Type="http://schemas.openxmlformats.org/officeDocument/2006/relationships/image" Target="../media/image5.svg"/><Relationship Id="rId2" Type="http://schemas.openxmlformats.org/officeDocument/2006/relationships/tags" Target="../tags/tag8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45.bin"/><Relationship Id="rId10" Type="http://schemas.openxmlformats.org/officeDocument/2006/relationships/image" Target="../media/image3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6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8.jpeg"/><Relationship Id="rId2" Type="http://schemas.openxmlformats.org/officeDocument/2006/relationships/tags" Target="../tags/tag92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9.jpeg"/><Relationship Id="rId2" Type="http://schemas.openxmlformats.org/officeDocument/2006/relationships/tags" Target="../tags/tag9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10.jpeg"/><Relationship Id="rId2" Type="http://schemas.openxmlformats.org/officeDocument/2006/relationships/tags" Target="../tags/tag96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11.jpeg"/><Relationship Id="rId2" Type="http://schemas.openxmlformats.org/officeDocument/2006/relationships/tags" Target="../tags/tag102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12.jpeg"/><Relationship Id="rId2" Type="http://schemas.openxmlformats.org/officeDocument/2006/relationships/tags" Target="../tags/tag10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13.jpeg"/><Relationship Id="rId2" Type="http://schemas.openxmlformats.org/officeDocument/2006/relationships/tags" Target="../tags/tag10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14.jpeg"/><Relationship Id="rId2" Type="http://schemas.openxmlformats.org/officeDocument/2006/relationships/tags" Target="../tags/tag108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15.jpeg"/><Relationship Id="rId2" Type="http://schemas.openxmlformats.org/officeDocument/2006/relationships/tags" Target="../tags/tag110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16.jpeg"/><Relationship Id="rId2" Type="http://schemas.openxmlformats.org/officeDocument/2006/relationships/tags" Target="../tags/tag11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7.jpeg"/><Relationship Id="rId2" Type="http://schemas.openxmlformats.org/officeDocument/2006/relationships/tags" Target="../tags/tag114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7.xml"/><Relationship Id="rId7" Type="http://schemas.openxmlformats.org/officeDocument/2006/relationships/image" Target="../media/image11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9.xml"/><Relationship Id="rId7" Type="http://schemas.openxmlformats.org/officeDocument/2006/relationships/image" Target="../media/image12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6.jpeg"/><Relationship Id="rId2" Type="http://schemas.openxmlformats.org/officeDocument/2006/relationships/tags" Target="../tags/tag166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18.jpeg"/><Relationship Id="rId2" Type="http://schemas.openxmlformats.org/officeDocument/2006/relationships/tags" Target="../tags/tag16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1.xml"/><Relationship Id="rId7" Type="http://schemas.openxmlformats.org/officeDocument/2006/relationships/image" Target="../media/image13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3BBC5B1-2797-48A1-B0C8-5ECEEECAD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308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 hidden="1">
            <a:extLst>
              <a:ext uri="{FF2B5EF4-FFF2-40B4-BE49-F238E27FC236}">
                <a16:creationId xmlns:a16="http://schemas.microsoft.com/office/drawing/2014/main" id="{E3A1C8B6-70B2-404B-8945-F19BC08DAD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B87E2C2A-8DC2-48F8-A9B0-60AD5568FA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3605" y="1069145"/>
            <a:ext cx="8656790" cy="3147256"/>
          </a:xfrm>
          <a:prstGeom prst="rect">
            <a:avLst/>
          </a:prstGeom>
        </p:spPr>
      </p:pic>
      <p:sp>
        <p:nvSpPr>
          <p:cNvPr id="16" name="Tijdelijke aanduiding voor tekst 3">
            <a:extLst>
              <a:ext uri="{FF2B5EF4-FFF2-40B4-BE49-F238E27FC236}">
                <a16:creationId xmlns:a16="http://schemas.microsoft.com/office/drawing/2014/main" id="{FBBD0A47-8AB3-46F3-BB03-118198382B4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54000" y="4514441"/>
            <a:ext cx="6697072" cy="232243"/>
          </a:xfrm>
        </p:spPr>
        <p:txBody>
          <a:bodyPr wrap="square">
            <a:spAutoFit/>
          </a:bodyPr>
          <a:lstStyle>
            <a:lvl1pPr>
              <a:defRPr sz="135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DA1F41F7-BCE1-4909-965F-89E64CE04A4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44" y="4220583"/>
            <a:ext cx="1156080" cy="710987"/>
          </a:xfrm>
          <a:prstGeom prst="rect">
            <a:avLst/>
          </a:prstGeom>
        </p:spPr>
      </p:pic>
      <p:sp>
        <p:nvSpPr>
          <p:cNvPr id="19" name="Titel 1">
            <a:extLst>
              <a:ext uri="{FF2B5EF4-FFF2-40B4-BE49-F238E27FC236}">
                <a16:creationId xmlns:a16="http://schemas.microsoft.com/office/drawing/2014/main" id="{89542F2E-A2FF-45DC-835C-2CC6DF8900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6978" y="526460"/>
            <a:ext cx="3909600" cy="1227600"/>
          </a:xfrm>
          <a:prstGeom prst="roundRect">
            <a:avLst>
              <a:gd name="adj" fmla="val 2473"/>
            </a:avLst>
          </a:prstGeom>
          <a:solidFill>
            <a:schemeClr val="accent5"/>
          </a:solidFill>
        </p:spPr>
        <p:txBody>
          <a:bodyPr vert="horz" wrap="square" lIns="72000" tIns="0" rIns="72000" bIns="0" rtlCol="0" anchor="ctr" anchorCtr="0">
            <a:noAutofit/>
          </a:bodyPr>
          <a:lstStyle>
            <a:lvl1pPr algn="ctr">
              <a:defRPr lang="nl-NL" dirty="0">
                <a:solidFill>
                  <a:schemeClr val="bg1"/>
                </a:solidFill>
              </a:defRPr>
            </a:lvl1pPr>
          </a:lstStyle>
          <a:p>
            <a:pPr marL="0" lvl="0" algn="ctr">
              <a:lnSpc>
                <a:spcPct val="95000"/>
              </a:lnSpc>
            </a:pPr>
            <a:r>
              <a:rPr lang="nl-NL" dirty="0"/>
              <a:t>Presentatietitel</a:t>
            </a:r>
          </a:p>
        </p:txBody>
      </p:sp>
      <p:sp>
        <p:nvSpPr>
          <p:cNvPr id="12" name="Ondertitel 11">
            <a:extLst>
              <a:ext uri="{FF2B5EF4-FFF2-40B4-BE49-F238E27FC236}">
                <a16:creationId xmlns:a16="http://schemas.microsoft.com/office/drawing/2014/main" id="{BA3F3467-72F2-4BA2-AE36-1BC1B03D96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4675" y="1611344"/>
            <a:ext cx="3034800" cy="449911"/>
          </a:xfrm>
          <a:custGeom>
            <a:avLst/>
            <a:gdLst>
              <a:gd name="connsiteX0" fmla="*/ 54219 w 3034800"/>
              <a:gd name="connsiteY0" fmla="*/ 0 h 449911"/>
              <a:gd name="connsiteX1" fmla="*/ 1455593 w 3034800"/>
              <a:gd name="connsiteY1" fmla="*/ 0 h 449911"/>
              <a:gd name="connsiteX2" fmla="*/ 1526910 w 3034800"/>
              <a:gd name="connsiteY2" fmla="*/ 118146 h 449911"/>
              <a:gd name="connsiteX3" fmla="*/ 1598226 w 3034800"/>
              <a:gd name="connsiteY3" fmla="*/ 0 h 449911"/>
              <a:gd name="connsiteX4" fmla="*/ 2980583 w 3034800"/>
              <a:gd name="connsiteY4" fmla="*/ 0 h 449911"/>
              <a:gd name="connsiteX5" fmla="*/ 3034070 w 3034800"/>
              <a:gd name="connsiteY5" fmla="*/ 53703 h 449911"/>
              <a:gd name="connsiteX6" fmla="*/ 3034070 w 3034800"/>
              <a:gd name="connsiteY6" fmla="*/ 96367 h 449911"/>
              <a:gd name="connsiteX7" fmla="*/ 3034070 w 3034800"/>
              <a:gd name="connsiteY7" fmla="*/ 130288 h 449911"/>
              <a:gd name="connsiteX8" fmla="*/ 3034800 w 3034800"/>
              <a:gd name="connsiteY8" fmla="*/ 131018 h 449911"/>
              <a:gd name="connsiteX9" fmla="*/ 3034800 w 3034800"/>
              <a:gd name="connsiteY9" fmla="*/ 394992 h 449911"/>
              <a:gd name="connsiteX10" fmla="*/ 3033817 w 3034800"/>
              <a:gd name="connsiteY10" fmla="*/ 395975 h 449911"/>
              <a:gd name="connsiteX11" fmla="*/ 3025713 w 3034800"/>
              <a:gd name="connsiteY11" fmla="*/ 426752 h 449911"/>
              <a:gd name="connsiteX12" fmla="*/ 2980583 w 3034800"/>
              <a:gd name="connsiteY12" fmla="*/ 449911 h 449911"/>
              <a:gd name="connsiteX13" fmla="*/ 54219 w 3034800"/>
              <a:gd name="connsiteY13" fmla="*/ 449911 h 449911"/>
              <a:gd name="connsiteX14" fmla="*/ 1567 w 3034800"/>
              <a:gd name="connsiteY14" fmla="*/ 403592 h 449911"/>
              <a:gd name="connsiteX15" fmla="*/ 808 w 3034800"/>
              <a:gd name="connsiteY15" fmla="*/ 395800 h 449911"/>
              <a:gd name="connsiteX16" fmla="*/ 0 w 3034800"/>
              <a:gd name="connsiteY16" fmla="*/ 394992 h 449911"/>
              <a:gd name="connsiteX17" fmla="*/ 0 w 3034800"/>
              <a:gd name="connsiteY17" fmla="*/ 131018 h 449911"/>
              <a:gd name="connsiteX18" fmla="*/ 731 w 3034800"/>
              <a:gd name="connsiteY18" fmla="*/ 130287 h 449911"/>
              <a:gd name="connsiteX19" fmla="*/ 731 w 3034800"/>
              <a:gd name="connsiteY19" fmla="*/ 113782 h 449911"/>
              <a:gd name="connsiteX20" fmla="*/ 731 w 3034800"/>
              <a:gd name="connsiteY20" fmla="*/ 53703 h 449911"/>
              <a:gd name="connsiteX21" fmla="*/ 54219 w 3034800"/>
              <a:gd name="connsiteY21" fmla="*/ 0 h 449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034800" h="449911">
                <a:moveTo>
                  <a:pt x="54219" y="0"/>
                </a:moveTo>
                <a:cubicBezTo>
                  <a:pt x="54219" y="0"/>
                  <a:pt x="54219" y="0"/>
                  <a:pt x="1455593" y="0"/>
                </a:cubicBezTo>
                <a:cubicBezTo>
                  <a:pt x="1455593" y="0"/>
                  <a:pt x="1455593" y="0"/>
                  <a:pt x="1526910" y="118146"/>
                </a:cubicBezTo>
                <a:cubicBezTo>
                  <a:pt x="1526910" y="118146"/>
                  <a:pt x="1526910" y="118146"/>
                  <a:pt x="1598226" y="0"/>
                </a:cubicBezTo>
                <a:cubicBezTo>
                  <a:pt x="1598226" y="0"/>
                  <a:pt x="1598226" y="0"/>
                  <a:pt x="2980583" y="0"/>
                </a:cubicBezTo>
                <a:cubicBezTo>
                  <a:pt x="3034070" y="0"/>
                  <a:pt x="3034070" y="53703"/>
                  <a:pt x="3034070" y="53703"/>
                </a:cubicBezTo>
                <a:cubicBezTo>
                  <a:pt x="3034070" y="53703"/>
                  <a:pt x="3034070" y="53703"/>
                  <a:pt x="3034070" y="96367"/>
                </a:cubicBezTo>
                <a:lnTo>
                  <a:pt x="3034070" y="130288"/>
                </a:lnTo>
                <a:lnTo>
                  <a:pt x="3034800" y="131018"/>
                </a:lnTo>
                <a:lnTo>
                  <a:pt x="3034800" y="394992"/>
                </a:lnTo>
                <a:lnTo>
                  <a:pt x="3033817" y="395975"/>
                </a:lnTo>
                <a:lnTo>
                  <a:pt x="3025713" y="426752"/>
                </a:lnTo>
                <a:cubicBezTo>
                  <a:pt x="3010669" y="449911"/>
                  <a:pt x="2980583" y="449911"/>
                  <a:pt x="2980583" y="449911"/>
                </a:cubicBezTo>
                <a:cubicBezTo>
                  <a:pt x="2980583" y="449911"/>
                  <a:pt x="2980583" y="449911"/>
                  <a:pt x="54219" y="449911"/>
                </a:cubicBezTo>
                <a:cubicBezTo>
                  <a:pt x="14103" y="449911"/>
                  <a:pt x="4074" y="419032"/>
                  <a:pt x="1567" y="403592"/>
                </a:cubicBezTo>
                <a:lnTo>
                  <a:pt x="808" y="395800"/>
                </a:lnTo>
                <a:lnTo>
                  <a:pt x="0" y="394992"/>
                </a:lnTo>
                <a:lnTo>
                  <a:pt x="0" y="131018"/>
                </a:lnTo>
                <a:lnTo>
                  <a:pt x="731" y="130287"/>
                </a:lnTo>
                <a:lnTo>
                  <a:pt x="731" y="113782"/>
                </a:lnTo>
                <a:cubicBezTo>
                  <a:pt x="731" y="95034"/>
                  <a:pt x="731" y="75035"/>
                  <a:pt x="731" y="53703"/>
                </a:cubicBezTo>
                <a:cubicBezTo>
                  <a:pt x="731" y="0"/>
                  <a:pt x="54219" y="0"/>
                  <a:pt x="54219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126000" rIns="0" bIns="72000" anchor="t" anchorCtr="0">
            <a:noAutofit/>
          </a:bodyPr>
          <a:lstStyle>
            <a:lvl1pPr marL="0" indent="0" algn="ctr">
              <a:lnSpc>
                <a:spcPct val="110000"/>
              </a:lnSpc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Plaats en da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6133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676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37C02195-447C-404F-B318-B6C67B7AD5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196" y="0"/>
            <a:ext cx="6038479" cy="5143500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258F74A5-88C3-488F-A72F-AA4C9ED655E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44" y="4220583"/>
            <a:ext cx="1156080" cy="710987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4FAB9750-7A74-4AB2-ADA5-20CF1B573E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4537" y="635511"/>
            <a:ext cx="2858400" cy="2516400"/>
          </a:xfrm>
          <a:prstGeom prst="roundRect">
            <a:avLst>
              <a:gd name="adj" fmla="val 2473"/>
            </a:avLst>
          </a:prstGeom>
          <a:solidFill>
            <a:schemeClr val="accent4"/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  <p:sp>
        <p:nvSpPr>
          <p:cNvPr id="10" name="Ondertitel 9">
            <a:extLst>
              <a:ext uri="{FF2B5EF4-FFF2-40B4-BE49-F238E27FC236}">
                <a16:creationId xmlns:a16="http://schemas.microsoft.com/office/drawing/2014/main" id="{A79502BF-0EB1-41A5-A425-3A9F7A411A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16727" y="3790086"/>
            <a:ext cx="3128905" cy="1010514"/>
          </a:xfrm>
          <a:custGeom>
            <a:avLst/>
            <a:gdLst>
              <a:gd name="connsiteX0" fmla="*/ 50025 w 3128905"/>
              <a:gd name="connsiteY0" fmla="*/ 0 h 1010514"/>
              <a:gd name="connsiteX1" fmla="*/ 1497158 w 3128905"/>
              <a:gd name="connsiteY1" fmla="*/ 0 h 1010514"/>
              <a:gd name="connsiteX2" fmla="*/ 1563857 w 3128905"/>
              <a:gd name="connsiteY2" fmla="*/ 106307 h 1010514"/>
              <a:gd name="connsiteX3" fmla="*/ 1631747 w 3128905"/>
              <a:gd name="connsiteY3" fmla="*/ 0 h 1010514"/>
              <a:gd name="connsiteX4" fmla="*/ 3077690 w 3128905"/>
              <a:gd name="connsiteY4" fmla="*/ 0 h 1010514"/>
              <a:gd name="connsiteX5" fmla="*/ 3128905 w 3128905"/>
              <a:gd name="connsiteY5" fmla="*/ 50167 h 1010514"/>
              <a:gd name="connsiteX6" fmla="*/ 3128905 w 3128905"/>
              <a:gd name="connsiteY6" fmla="*/ 960347 h 1010514"/>
              <a:gd name="connsiteX7" fmla="*/ 3077690 w 3128905"/>
              <a:gd name="connsiteY7" fmla="*/ 1010514 h 1010514"/>
              <a:gd name="connsiteX8" fmla="*/ 50025 w 3128905"/>
              <a:gd name="connsiteY8" fmla="*/ 1010514 h 1010514"/>
              <a:gd name="connsiteX9" fmla="*/ 0 w 3128905"/>
              <a:gd name="connsiteY9" fmla="*/ 960347 h 1010514"/>
              <a:gd name="connsiteX10" fmla="*/ 0 w 3128905"/>
              <a:gd name="connsiteY10" fmla="*/ 50167 h 1010514"/>
              <a:gd name="connsiteX11" fmla="*/ 50025 w 3128905"/>
              <a:gd name="connsiteY11" fmla="*/ 0 h 101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128905" h="1010514">
                <a:moveTo>
                  <a:pt x="50025" y="0"/>
                </a:moveTo>
                <a:cubicBezTo>
                  <a:pt x="50025" y="0"/>
                  <a:pt x="50025" y="0"/>
                  <a:pt x="1497158" y="0"/>
                </a:cubicBezTo>
                <a:cubicBezTo>
                  <a:pt x="1497158" y="0"/>
                  <a:pt x="1497158" y="0"/>
                  <a:pt x="1563857" y="106307"/>
                </a:cubicBezTo>
                <a:cubicBezTo>
                  <a:pt x="1563857" y="106307"/>
                  <a:pt x="1563857" y="106307"/>
                  <a:pt x="1631747" y="0"/>
                </a:cubicBezTo>
                <a:cubicBezTo>
                  <a:pt x="1631747" y="0"/>
                  <a:pt x="1631747" y="0"/>
                  <a:pt x="3077690" y="0"/>
                </a:cubicBezTo>
                <a:cubicBezTo>
                  <a:pt x="3128905" y="0"/>
                  <a:pt x="3128905" y="50167"/>
                  <a:pt x="3128905" y="50167"/>
                </a:cubicBezTo>
                <a:cubicBezTo>
                  <a:pt x="3128905" y="50167"/>
                  <a:pt x="3128905" y="50167"/>
                  <a:pt x="3128905" y="960347"/>
                </a:cubicBezTo>
                <a:cubicBezTo>
                  <a:pt x="3128905" y="1010514"/>
                  <a:pt x="3077690" y="1010514"/>
                  <a:pt x="3077690" y="1010514"/>
                </a:cubicBezTo>
                <a:cubicBezTo>
                  <a:pt x="3077690" y="1010514"/>
                  <a:pt x="3077690" y="1010514"/>
                  <a:pt x="50025" y="1010514"/>
                </a:cubicBezTo>
                <a:cubicBezTo>
                  <a:pt x="0" y="1010514"/>
                  <a:pt x="0" y="960347"/>
                  <a:pt x="0" y="960347"/>
                </a:cubicBezTo>
                <a:cubicBezTo>
                  <a:pt x="0" y="960347"/>
                  <a:pt x="0" y="960347"/>
                  <a:pt x="0" y="50167"/>
                </a:cubicBezTo>
                <a:cubicBezTo>
                  <a:pt x="0" y="0"/>
                  <a:pt x="50025" y="0"/>
                  <a:pt x="5002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144000" tIns="180000" rIns="0" bIns="72000" rtlCol="0" anchor="t" anchorCtr="0">
            <a:noAutofit/>
          </a:bodyPr>
          <a:lstStyle>
            <a:lvl1pPr>
              <a:defRPr lang="en-US" sz="800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110000"/>
              </a:lnSpc>
            </a:pPr>
            <a:r>
              <a:rPr lang="nl-NL" dirty="0"/>
              <a:t>Tek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460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7238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2B61A5FB-DD3E-47BE-A21A-78CD2234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05194" y="0"/>
            <a:ext cx="6664862" cy="5143500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258F74A5-88C3-488F-A72F-AA4C9ED655E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44" y="4220583"/>
            <a:ext cx="1156080" cy="710987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2B77ED7B-42B0-4058-9A90-6C2E0F09D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9975" y="635511"/>
            <a:ext cx="2858400" cy="2516400"/>
          </a:xfrm>
          <a:prstGeom prst="roundRect">
            <a:avLst>
              <a:gd name="adj" fmla="val 2473"/>
            </a:avLst>
          </a:prstGeom>
          <a:solidFill>
            <a:srgbClr val="8E481F">
              <a:alpha val="91000"/>
            </a:srgbClr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  <p:sp>
        <p:nvSpPr>
          <p:cNvPr id="11" name="Ondertitel 10">
            <a:extLst>
              <a:ext uri="{FF2B5EF4-FFF2-40B4-BE49-F238E27FC236}">
                <a16:creationId xmlns:a16="http://schemas.microsoft.com/office/drawing/2014/main" id="{54DDD162-1B9E-4123-A6B2-2E6380EE0C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04407" y="2647086"/>
            <a:ext cx="3128905" cy="1010514"/>
          </a:xfrm>
          <a:custGeom>
            <a:avLst/>
            <a:gdLst>
              <a:gd name="connsiteX0" fmla="*/ 50025 w 3128905"/>
              <a:gd name="connsiteY0" fmla="*/ 0 h 1010514"/>
              <a:gd name="connsiteX1" fmla="*/ 1497158 w 3128905"/>
              <a:gd name="connsiteY1" fmla="*/ 0 h 1010514"/>
              <a:gd name="connsiteX2" fmla="*/ 1563857 w 3128905"/>
              <a:gd name="connsiteY2" fmla="*/ 106307 h 1010514"/>
              <a:gd name="connsiteX3" fmla="*/ 1631747 w 3128905"/>
              <a:gd name="connsiteY3" fmla="*/ 0 h 1010514"/>
              <a:gd name="connsiteX4" fmla="*/ 3077690 w 3128905"/>
              <a:gd name="connsiteY4" fmla="*/ 0 h 1010514"/>
              <a:gd name="connsiteX5" fmla="*/ 3128905 w 3128905"/>
              <a:gd name="connsiteY5" fmla="*/ 50167 h 1010514"/>
              <a:gd name="connsiteX6" fmla="*/ 3128905 w 3128905"/>
              <a:gd name="connsiteY6" fmla="*/ 960347 h 1010514"/>
              <a:gd name="connsiteX7" fmla="*/ 3077690 w 3128905"/>
              <a:gd name="connsiteY7" fmla="*/ 1010514 h 1010514"/>
              <a:gd name="connsiteX8" fmla="*/ 50025 w 3128905"/>
              <a:gd name="connsiteY8" fmla="*/ 1010514 h 1010514"/>
              <a:gd name="connsiteX9" fmla="*/ 0 w 3128905"/>
              <a:gd name="connsiteY9" fmla="*/ 960347 h 1010514"/>
              <a:gd name="connsiteX10" fmla="*/ 0 w 3128905"/>
              <a:gd name="connsiteY10" fmla="*/ 50167 h 1010514"/>
              <a:gd name="connsiteX11" fmla="*/ 50025 w 3128905"/>
              <a:gd name="connsiteY11" fmla="*/ 0 h 101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128905" h="1010514">
                <a:moveTo>
                  <a:pt x="50025" y="0"/>
                </a:moveTo>
                <a:cubicBezTo>
                  <a:pt x="50025" y="0"/>
                  <a:pt x="50025" y="0"/>
                  <a:pt x="1497158" y="0"/>
                </a:cubicBezTo>
                <a:cubicBezTo>
                  <a:pt x="1497158" y="0"/>
                  <a:pt x="1497158" y="0"/>
                  <a:pt x="1563857" y="106307"/>
                </a:cubicBezTo>
                <a:cubicBezTo>
                  <a:pt x="1563857" y="106307"/>
                  <a:pt x="1563857" y="106307"/>
                  <a:pt x="1631747" y="0"/>
                </a:cubicBezTo>
                <a:cubicBezTo>
                  <a:pt x="1631747" y="0"/>
                  <a:pt x="1631747" y="0"/>
                  <a:pt x="3077690" y="0"/>
                </a:cubicBezTo>
                <a:cubicBezTo>
                  <a:pt x="3128905" y="0"/>
                  <a:pt x="3128905" y="50167"/>
                  <a:pt x="3128905" y="50167"/>
                </a:cubicBezTo>
                <a:cubicBezTo>
                  <a:pt x="3128905" y="50167"/>
                  <a:pt x="3128905" y="50167"/>
                  <a:pt x="3128905" y="960347"/>
                </a:cubicBezTo>
                <a:cubicBezTo>
                  <a:pt x="3128905" y="1010514"/>
                  <a:pt x="3077690" y="1010514"/>
                  <a:pt x="3077690" y="1010514"/>
                </a:cubicBezTo>
                <a:cubicBezTo>
                  <a:pt x="3077690" y="1010514"/>
                  <a:pt x="3077690" y="1010514"/>
                  <a:pt x="50025" y="1010514"/>
                </a:cubicBezTo>
                <a:cubicBezTo>
                  <a:pt x="0" y="1010514"/>
                  <a:pt x="0" y="960347"/>
                  <a:pt x="0" y="960347"/>
                </a:cubicBezTo>
                <a:cubicBezTo>
                  <a:pt x="0" y="960347"/>
                  <a:pt x="0" y="960347"/>
                  <a:pt x="0" y="50167"/>
                </a:cubicBezTo>
                <a:cubicBezTo>
                  <a:pt x="0" y="0"/>
                  <a:pt x="50025" y="0"/>
                  <a:pt x="50025" y="0"/>
                </a:cubicBezTo>
                <a:close/>
              </a:path>
            </a:pathLst>
          </a:custGeom>
          <a:solidFill>
            <a:srgbClr val="490E67"/>
          </a:solidFill>
        </p:spPr>
        <p:txBody>
          <a:bodyPr vert="horz" wrap="square" lIns="144000" tIns="180000" rIns="0" bIns="72000" rtlCol="0" anchor="t" anchorCtr="0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10000"/>
              </a:lnSpc>
            </a:pPr>
            <a:r>
              <a:rPr lang="nl-NL" dirty="0"/>
              <a:t>Tek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9363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3380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988FB143-F7A8-4419-A051-2CF4585F8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66536" y="1219201"/>
            <a:ext cx="8410923" cy="2992800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F9068AD0-96C6-45B7-B8A8-D1C581BCB8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44" y="4220583"/>
            <a:ext cx="1156080" cy="71098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5901C1C2-F944-445B-8D67-981C6C0980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4738" y="635511"/>
            <a:ext cx="2858400" cy="2516400"/>
          </a:xfrm>
          <a:prstGeom prst="roundRect">
            <a:avLst>
              <a:gd name="adj" fmla="val 2473"/>
            </a:avLst>
          </a:prstGeom>
          <a:solidFill>
            <a:schemeClr val="accent3"/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8035949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486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50BEB510-7D12-419B-B079-2D5DE5D5B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7200" y="1219200"/>
            <a:ext cx="8409600" cy="349154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57C6DE9-BE1A-4F51-9D3D-58D04E00AF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4738" y="635511"/>
            <a:ext cx="2858400" cy="2516400"/>
          </a:xfrm>
          <a:prstGeom prst="roundRect">
            <a:avLst>
              <a:gd name="adj" fmla="val 2473"/>
            </a:avLst>
          </a:prstGeom>
          <a:solidFill>
            <a:schemeClr val="accent4"/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3794006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 -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637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20" y="4432513"/>
            <a:ext cx="1156080" cy="710987"/>
          </a:xfrm>
          <a:prstGeom prst="rect">
            <a:avLst/>
          </a:prstGeom>
        </p:spPr>
      </p:pic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CC8A17E-D612-4588-893C-2B88DCAE23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9" name="Titel 19">
            <a:extLst>
              <a:ext uri="{FF2B5EF4-FFF2-40B4-BE49-F238E27FC236}">
                <a16:creationId xmlns:a16="http://schemas.microsoft.com/office/drawing/2014/main" id="{0F2D4524-0F2E-4454-8A01-DBD3DF0190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0" name="Tijdelijke aanduiding voor tekst 26">
            <a:extLst>
              <a:ext uri="{FF2B5EF4-FFF2-40B4-BE49-F238E27FC236}">
                <a16:creationId xmlns:a16="http://schemas.microsoft.com/office/drawing/2014/main" id="{394DCFE4-439B-4F67-9F13-2DDAA4AA7F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1" name="Tijdelijke aanduiding voor tekst 26">
            <a:extLst>
              <a:ext uri="{FF2B5EF4-FFF2-40B4-BE49-F238E27FC236}">
                <a16:creationId xmlns:a16="http://schemas.microsoft.com/office/drawing/2014/main" id="{44C1FD67-667E-4B66-B7B4-FB5194D4CF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</p:spTree>
    <p:extLst>
      <p:ext uri="{BB962C8B-B14F-4D97-AF65-F5344CB8AC3E}">
        <p14:creationId xmlns:p14="http://schemas.microsoft.com/office/powerpoint/2010/main" val="1232795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 userDrawn="1">
          <p15:clr>
            <a:srgbClr val="FBAE40"/>
          </p15:clr>
        </p15:guide>
        <p15:guide id="2" pos="4740" userDrawn="1">
          <p15:clr>
            <a:srgbClr val="FBAE40"/>
          </p15:clr>
        </p15:guide>
        <p15:guide id="3" pos="544" userDrawn="1">
          <p15:clr>
            <a:srgbClr val="FBAE40"/>
          </p15:clr>
        </p15:guide>
        <p15:guide id="4" pos="272" userDrawn="1">
          <p15:clr>
            <a:srgbClr val="FBAE40"/>
          </p15:clr>
        </p15:guide>
        <p15:guide id="5" orient="horz" pos="872" userDrawn="1">
          <p15:clr>
            <a:srgbClr val="FBAE40"/>
          </p15:clr>
        </p15:guide>
        <p15:guide id="6" orient="horz" pos="29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de foto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2937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84775" y="1419294"/>
            <a:ext cx="3527425" cy="2989194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C929864-8829-415D-8AB1-29DFE7461C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5900" y="1058863"/>
            <a:ext cx="4264660" cy="3852862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F5E8DB92-C2EC-4DAC-BFD4-AB636F5F7C2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20" y="4432513"/>
            <a:ext cx="1156080" cy="710987"/>
          </a:xfrm>
          <a:prstGeom prst="rect">
            <a:avLst/>
          </a:prstGeom>
        </p:spPr>
      </p:pic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8840DCBB-7376-46A7-80E3-E3E1352148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837283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 userDrawn="1">
          <p15:clr>
            <a:srgbClr val="FBAE40"/>
          </p15:clr>
        </p15:guide>
        <p15:guide id="3" pos="3266" userDrawn="1">
          <p15:clr>
            <a:srgbClr val="FBAE40"/>
          </p15:clr>
        </p15:guide>
        <p15:guide id="4" pos="136" userDrawn="1">
          <p15:clr>
            <a:srgbClr val="FBAE40"/>
          </p15:clr>
        </p15:guide>
        <p15:guide id="5" orient="horz" pos="667" userDrawn="1">
          <p15:clr>
            <a:srgbClr val="FBAE40"/>
          </p15:clr>
        </p15:guide>
        <p15:guide id="6" orient="horz" pos="3094" userDrawn="1">
          <p15:clr>
            <a:srgbClr val="FBAE40"/>
          </p15:clr>
        </p15:guide>
        <p15:guide id="7" orient="horz" pos="277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 foto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5721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16237" y="1419294"/>
            <a:ext cx="5795963" cy="2989194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C929864-8829-415D-8AB1-29DFE7461C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5900" y="1058863"/>
            <a:ext cx="2184400" cy="3852862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1B7DC796-CA92-4285-BCAA-C3A9CC4FF2F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20" y="4432513"/>
            <a:ext cx="1156080" cy="710987"/>
          </a:xfrm>
          <a:prstGeom prst="rect">
            <a:avLst/>
          </a:prstGeom>
        </p:spPr>
      </p:pic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6B6A3533-D483-4CBC-9607-80AAC115A2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356000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>
          <p15:clr>
            <a:srgbClr val="FBAE40"/>
          </p15:clr>
        </p15:guide>
        <p15:guide id="3" pos="1837" userDrawn="1">
          <p15:clr>
            <a:srgbClr val="FBAE40"/>
          </p15:clr>
        </p15:guide>
        <p15:guide id="4" pos="136">
          <p15:clr>
            <a:srgbClr val="FBAE40"/>
          </p15:clr>
        </p15:guide>
        <p15:guide id="5" orient="horz" pos="667">
          <p15:clr>
            <a:srgbClr val="FBAE40"/>
          </p15:clr>
        </p15:guide>
        <p15:guide id="6" orient="horz" pos="3094">
          <p15:clr>
            <a:srgbClr val="FBAE40"/>
          </p15:clr>
        </p15:guide>
        <p15:guide id="7" orient="horz" pos="277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's. quote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8571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27650" y="1419294"/>
            <a:ext cx="3384550" cy="2989194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C929864-8829-415D-8AB1-29DFE7461C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5900" y="1058863"/>
            <a:ext cx="2184400" cy="3852862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16" name="Tijdelijke aanduiding voor afbeelding 5">
            <a:extLst>
              <a:ext uri="{FF2B5EF4-FFF2-40B4-BE49-F238E27FC236}">
                <a16:creationId xmlns:a16="http://schemas.microsoft.com/office/drawing/2014/main" id="{C27D8DED-9B21-4D7F-B66A-83E83FA175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639060" y="1058863"/>
            <a:ext cx="2184400" cy="1836737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AF21A73D-CAD4-4AD4-84D7-A01DD60422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39060" y="3117850"/>
            <a:ext cx="2185200" cy="1793875"/>
          </a:xfrm>
          <a:prstGeom prst="roundRect">
            <a:avLst>
              <a:gd name="adj" fmla="val 2862"/>
            </a:avLst>
          </a:prstGeom>
          <a:solidFill>
            <a:schemeClr val="accent3"/>
          </a:solidFill>
        </p:spPr>
        <p:txBody>
          <a:bodyPr lIns="198000" tIns="162000" rIns="180000" bIns="144000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3D788E7B-251D-4857-90AE-895FA985D10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20" y="4432513"/>
            <a:ext cx="1156080" cy="710987"/>
          </a:xfrm>
          <a:prstGeom prst="rect">
            <a:avLst/>
          </a:prstGeom>
        </p:spPr>
      </p:pic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6D50758F-CFC3-4157-A24D-B42EAAC4F09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726602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>
          <p15:clr>
            <a:srgbClr val="FBAE40"/>
          </p15:clr>
        </p15:guide>
        <p15:guide id="3" pos="3356" userDrawn="1">
          <p15:clr>
            <a:srgbClr val="FBAE40"/>
          </p15:clr>
        </p15:guide>
        <p15:guide id="4" pos="136">
          <p15:clr>
            <a:srgbClr val="FBAE40"/>
          </p15:clr>
        </p15:guide>
        <p15:guide id="5" orient="horz" pos="667">
          <p15:clr>
            <a:srgbClr val="FBAE40"/>
          </p15:clr>
        </p15:guide>
        <p15:guide id="6" orient="horz" pos="3094">
          <p15:clr>
            <a:srgbClr val="FBAE40"/>
          </p15:clr>
        </p15:guide>
        <p15:guide id="7" orient="horz" pos="277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's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791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27650" y="1419294"/>
            <a:ext cx="3384550" cy="2989194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C929864-8829-415D-8AB1-29DFE7461C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5900" y="1058863"/>
            <a:ext cx="2184400" cy="3852862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16" name="Tijdelijke aanduiding voor afbeelding 5">
            <a:extLst>
              <a:ext uri="{FF2B5EF4-FFF2-40B4-BE49-F238E27FC236}">
                <a16:creationId xmlns:a16="http://schemas.microsoft.com/office/drawing/2014/main" id="{C27D8DED-9B21-4D7F-B66A-83E83FA175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639060" y="1058863"/>
            <a:ext cx="2184400" cy="1836737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18" name="Tijdelijke aanduiding voor afbeelding 5">
            <a:extLst>
              <a:ext uri="{FF2B5EF4-FFF2-40B4-BE49-F238E27FC236}">
                <a16:creationId xmlns:a16="http://schemas.microsoft.com/office/drawing/2014/main" id="{D3AD6F72-4CC4-47AC-9D9C-FD839B015AC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639060" y="3074988"/>
            <a:ext cx="2184400" cy="1836737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EDFE5F5A-5FAA-4C42-B3A1-2992519D39D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20" y="4432513"/>
            <a:ext cx="1156080" cy="710987"/>
          </a:xfrm>
          <a:prstGeom prst="rect">
            <a:avLst/>
          </a:prstGeom>
        </p:spPr>
      </p:pic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7FC0DC09-572A-4DDA-819B-FFBE4CE9CE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70492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>
          <p15:clr>
            <a:srgbClr val="FBAE40"/>
          </p15:clr>
        </p15:guide>
        <p15:guide id="3" pos="3356">
          <p15:clr>
            <a:srgbClr val="FBAE40"/>
          </p15:clr>
        </p15:guide>
        <p15:guide id="4" pos="136">
          <p15:clr>
            <a:srgbClr val="FBAE40"/>
          </p15:clr>
        </p15:guide>
        <p15:guide id="5" orient="horz" pos="667">
          <p15:clr>
            <a:srgbClr val="FBAE40"/>
          </p15:clr>
        </p15:guide>
        <p15:guide id="6" orient="horz" pos="3094">
          <p15:clr>
            <a:srgbClr val="FBAE40"/>
          </p15:clr>
        </p15:guide>
        <p15:guide id="7" orient="horz" pos="277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schema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49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7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16463" y="1419294"/>
            <a:ext cx="3995737" cy="2989194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042E0182-7B84-4CFA-BFF7-08AB5295FB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62688" y="3071810"/>
            <a:ext cx="1837690" cy="1839915"/>
          </a:xfrm>
          <a:custGeom>
            <a:avLst/>
            <a:gdLst>
              <a:gd name="connsiteX0" fmla="*/ 52595 w 1837690"/>
              <a:gd name="connsiteY0" fmla="*/ 0 h 1839915"/>
              <a:gd name="connsiteX1" fmla="*/ 830740 w 1837690"/>
              <a:gd name="connsiteY1" fmla="*/ 0 h 1839915"/>
              <a:gd name="connsiteX2" fmla="*/ 918845 w 1837690"/>
              <a:gd name="connsiteY2" fmla="*/ 160020 h 1839915"/>
              <a:gd name="connsiteX3" fmla="*/ 1006950 w 1837690"/>
              <a:gd name="connsiteY3" fmla="*/ 0 h 1839915"/>
              <a:gd name="connsiteX4" fmla="*/ 1785095 w 1837690"/>
              <a:gd name="connsiteY4" fmla="*/ 0 h 1839915"/>
              <a:gd name="connsiteX5" fmla="*/ 1837690 w 1837690"/>
              <a:gd name="connsiteY5" fmla="*/ 52595 h 1839915"/>
              <a:gd name="connsiteX6" fmla="*/ 1837690 w 1837690"/>
              <a:gd name="connsiteY6" fmla="*/ 1787320 h 1839915"/>
              <a:gd name="connsiteX7" fmla="*/ 1785095 w 1837690"/>
              <a:gd name="connsiteY7" fmla="*/ 1839915 h 1839915"/>
              <a:gd name="connsiteX8" fmla="*/ 52595 w 1837690"/>
              <a:gd name="connsiteY8" fmla="*/ 1839915 h 1839915"/>
              <a:gd name="connsiteX9" fmla="*/ 0 w 1837690"/>
              <a:gd name="connsiteY9" fmla="*/ 1787320 h 1839915"/>
              <a:gd name="connsiteX10" fmla="*/ 0 w 1837690"/>
              <a:gd name="connsiteY10" fmla="*/ 52595 h 1839915"/>
              <a:gd name="connsiteX11" fmla="*/ 52595 w 1837690"/>
              <a:gd name="connsiteY11" fmla="*/ 0 h 183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37690" h="1839915">
                <a:moveTo>
                  <a:pt x="52595" y="0"/>
                </a:moveTo>
                <a:lnTo>
                  <a:pt x="830740" y="0"/>
                </a:lnTo>
                <a:lnTo>
                  <a:pt x="918845" y="160020"/>
                </a:lnTo>
                <a:lnTo>
                  <a:pt x="1006950" y="0"/>
                </a:lnTo>
                <a:lnTo>
                  <a:pt x="1785095" y="0"/>
                </a:lnTo>
                <a:cubicBezTo>
                  <a:pt x="1814142" y="0"/>
                  <a:pt x="1837690" y="23548"/>
                  <a:pt x="1837690" y="52595"/>
                </a:cubicBezTo>
                <a:lnTo>
                  <a:pt x="1837690" y="1787320"/>
                </a:lnTo>
                <a:cubicBezTo>
                  <a:pt x="1837690" y="1816367"/>
                  <a:pt x="1814142" y="1839915"/>
                  <a:pt x="1785095" y="1839915"/>
                </a:cubicBezTo>
                <a:lnTo>
                  <a:pt x="52595" y="1839915"/>
                </a:lnTo>
                <a:cubicBezTo>
                  <a:pt x="23548" y="1839915"/>
                  <a:pt x="0" y="1816367"/>
                  <a:pt x="0" y="1787320"/>
                </a:cubicBezTo>
                <a:lnTo>
                  <a:pt x="0" y="52595"/>
                </a:lnTo>
                <a:cubicBezTo>
                  <a:pt x="0" y="23548"/>
                  <a:pt x="23548" y="0"/>
                  <a:pt x="52595" y="0"/>
                </a:cubicBezTo>
                <a:close/>
              </a:path>
            </a:pathLst>
          </a:custGeom>
          <a:solidFill>
            <a:srgbClr val="76B82A"/>
          </a:solidFill>
        </p:spPr>
        <p:txBody>
          <a:bodyPr wrap="square" lIns="288000" tIns="306000" rIns="180000" bIns="144000">
            <a:noAutofit/>
          </a:bodyPr>
          <a:lstStyle>
            <a:lvl1pPr>
              <a:lnSpc>
                <a:spcPct val="124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0" name="Tijdelijke aanduiding voor tekst 29">
            <a:extLst>
              <a:ext uri="{FF2B5EF4-FFF2-40B4-BE49-F238E27FC236}">
                <a16:creationId xmlns:a16="http://schemas.microsoft.com/office/drawing/2014/main" id="{3C8E9022-EA4A-4BCC-B3B0-3F4227C062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0" y="3071810"/>
            <a:ext cx="1837690" cy="1839915"/>
          </a:xfrm>
          <a:custGeom>
            <a:avLst/>
            <a:gdLst>
              <a:gd name="connsiteX0" fmla="*/ 52595 w 1837690"/>
              <a:gd name="connsiteY0" fmla="*/ 0 h 1839915"/>
              <a:gd name="connsiteX1" fmla="*/ 1785095 w 1837690"/>
              <a:gd name="connsiteY1" fmla="*/ 0 h 1839915"/>
              <a:gd name="connsiteX2" fmla="*/ 1837690 w 1837690"/>
              <a:gd name="connsiteY2" fmla="*/ 52595 h 1839915"/>
              <a:gd name="connsiteX3" fmla="*/ 1837690 w 1837690"/>
              <a:gd name="connsiteY3" fmla="*/ 831852 h 1839915"/>
              <a:gd name="connsiteX4" fmla="*/ 1677670 w 1837690"/>
              <a:gd name="connsiteY4" fmla="*/ 919957 h 1839915"/>
              <a:gd name="connsiteX5" fmla="*/ 1837690 w 1837690"/>
              <a:gd name="connsiteY5" fmla="*/ 1008062 h 1839915"/>
              <a:gd name="connsiteX6" fmla="*/ 1837690 w 1837690"/>
              <a:gd name="connsiteY6" fmla="*/ 1787320 h 1839915"/>
              <a:gd name="connsiteX7" fmla="*/ 1785095 w 1837690"/>
              <a:gd name="connsiteY7" fmla="*/ 1839915 h 1839915"/>
              <a:gd name="connsiteX8" fmla="*/ 52595 w 1837690"/>
              <a:gd name="connsiteY8" fmla="*/ 1839915 h 1839915"/>
              <a:gd name="connsiteX9" fmla="*/ 0 w 1837690"/>
              <a:gd name="connsiteY9" fmla="*/ 1787320 h 1839915"/>
              <a:gd name="connsiteX10" fmla="*/ 0 w 1837690"/>
              <a:gd name="connsiteY10" fmla="*/ 52595 h 1839915"/>
              <a:gd name="connsiteX11" fmla="*/ 52595 w 1837690"/>
              <a:gd name="connsiteY11" fmla="*/ 0 h 183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37690" h="1839915">
                <a:moveTo>
                  <a:pt x="52595" y="0"/>
                </a:moveTo>
                <a:lnTo>
                  <a:pt x="1785095" y="0"/>
                </a:lnTo>
                <a:cubicBezTo>
                  <a:pt x="1814142" y="0"/>
                  <a:pt x="1837690" y="23548"/>
                  <a:pt x="1837690" y="52595"/>
                </a:cubicBezTo>
                <a:lnTo>
                  <a:pt x="1837690" y="831852"/>
                </a:lnTo>
                <a:lnTo>
                  <a:pt x="1677670" y="919957"/>
                </a:lnTo>
                <a:lnTo>
                  <a:pt x="1837690" y="1008062"/>
                </a:lnTo>
                <a:lnTo>
                  <a:pt x="1837690" y="1787320"/>
                </a:lnTo>
                <a:cubicBezTo>
                  <a:pt x="1837690" y="1816367"/>
                  <a:pt x="1814142" y="1839915"/>
                  <a:pt x="1785095" y="1839915"/>
                </a:cubicBezTo>
                <a:lnTo>
                  <a:pt x="52595" y="1839915"/>
                </a:lnTo>
                <a:cubicBezTo>
                  <a:pt x="23548" y="1839915"/>
                  <a:pt x="0" y="1816367"/>
                  <a:pt x="0" y="1787320"/>
                </a:cubicBezTo>
                <a:lnTo>
                  <a:pt x="0" y="52595"/>
                </a:lnTo>
                <a:cubicBezTo>
                  <a:pt x="0" y="23548"/>
                  <a:pt x="23548" y="0"/>
                  <a:pt x="52595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288000" tIns="306000" rIns="180000" bIns="144000">
            <a:noAutofit/>
          </a:bodyPr>
          <a:lstStyle>
            <a:lvl1pPr>
              <a:lnSpc>
                <a:spcPct val="124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8" name="Tijdelijke aanduiding voor tekst 27">
            <a:extLst>
              <a:ext uri="{FF2B5EF4-FFF2-40B4-BE49-F238E27FC236}">
                <a16:creationId xmlns:a16="http://schemas.microsoft.com/office/drawing/2014/main" id="{07B8E557-9CBA-44A1-BC2D-42CE189DC9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62688" y="1058863"/>
            <a:ext cx="1837690" cy="1839915"/>
          </a:xfrm>
          <a:custGeom>
            <a:avLst/>
            <a:gdLst>
              <a:gd name="connsiteX0" fmla="*/ 52595 w 1837690"/>
              <a:gd name="connsiteY0" fmla="*/ 0 h 1839915"/>
              <a:gd name="connsiteX1" fmla="*/ 1785095 w 1837690"/>
              <a:gd name="connsiteY1" fmla="*/ 0 h 1839915"/>
              <a:gd name="connsiteX2" fmla="*/ 1837690 w 1837690"/>
              <a:gd name="connsiteY2" fmla="*/ 52595 h 1839915"/>
              <a:gd name="connsiteX3" fmla="*/ 1837690 w 1837690"/>
              <a:gd name="connsiteY3" fmla="*/ 1787320 h 1839915"/>
              <a:gd name="connsiteX4" fmla="*/ 1785095 w 1837690"/>
              <a:gd name="connsiteY4" fmla="*/ 1839915 h 1839915"/>
              <a:gd name="connsiteX5" fmla="*/ 52595 w 1837690"/>
              <a:gd name="connsiteY5" fmla="*/ 1839915 h 1839915"/>
              <a:gd name="connsiteX6" fmla="*/ 0 w 1837690"/>
              <a:gd name="connsiteY6" fmla="*/ 1787320 h 1839915"/>
              <a:gd name="connsiteX7" fmla="*/ 0 w 1837690"/>
              <a:gd name="connsiteY7" fmla="*/ 1008062 h 1839915"/>
              <a:gd name="connsiteX8" fmla="*/ 160020 w 1837690"/>
              <a:gd name="connsiteY8" fmla="*/ 919957 h 1839915"/>
              <a:gd name="connsiteX9" fmla="*/ 0 w 1837690"/>
              <a:gd name="connsiteY9" fmla="*/ 831852 h 1839915"/>
              <a:gd name="connsiteX10" fmla="*/ 0 w 1837690"/>
              <a:gd name="connsiteY10" fmla="*/ 52595 h 1839915"/>
              <a:gd name="connsiteX11" fmla="*/ 52595 w 1837690"/>
              <a:gd name="connsiteY11" fmla="*/ 0 h 183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37690" h="1839915">
                <a:moveTo>
                  <a:pt x="52595" y="0"/>
                </a:moveTo>
                <a:lnTo>
                  <a:pt x="1785095" y="0"/>
                </a:lnTo>
                <a:cubicBezTo>
                  <a:pt x="1814142" y="0"/>
                  <a:pt x="1837690" y="23548"/>
                  <a:pt x="1837690" y="52595"/>
                </a:cubicBezTo>
                <a:lnTo>
                  <a:pt x="1837690" y="1787320"/>
                </a:lnTo>
                <a:cubicBezTo>
                  <a:pt x="1837690" y="1816367"/>
                  <a:pt x="1814142" y="1839915"/>
                  <a:pt x="1785095" y="1839915"/>
                </a:cubicBezTo>
                <a:lnTo>
                  <a:pt x="52595" y="1839915"/>
                </a:lnTo>
                <a:cubicBezTo>
                  <a:pt x="23548" y="1839915"/>
                  <a:pt x="0" y="1816367"/>
                  <a:pt x="0" y="1787320"/>
                </a:cubicBezTo>
                <a:lnTo>
                  <a:pt x="0" y="1008062"/>
                </a:lnTo>
                <a:lnTo>
                  <a:pt x="160020" y="919957"/>
                </a:lnTo>
                <a:lnTo>
                  <a:pt x="0" y="831852"/>
                </a:lnTo>
                <a:lnTo>
                  <a:pt x="0" y="52595"/>
                </a:lnTo>
                <a:cubicBezTo>
                  <a:pt x="0" y="23548"/>
                  <a:pt x="23548" y="0"/>
                  <a:pt x="5259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288000" tIns="306000" rIns="180000" bIns="144000">
            <a:noAutofit/>
          </a:bodyPr>
          <a:lstStyle>
            <a:lvl1pPr>
              <a:lnSpc>
                <a:spcPct val="124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7" name="Tijdelijke aanduiding voor tekst 26">
            <a:extLst>
              <a:ext uri="{FF2B5EF4-FFF2-40B4-BE49-F238E27FC236}">
                <a16:creationId xmlns:a16="http://schemas.microsoft.com/office/drawing/2014/main" id="{B5C8A854-0241-465A-BE9E-D86581E2FEB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7200" y="1058863"/>
            <a:ext cx="1837690" cy="1839915"/>
          </a:xfrm>
          <a:custGeom>
            <a:avLst/>
            <a:gdLst>
              <a:gd name="connsiteX0" fmla="*/ 52595 w 1837690"/>
              <a:gd name="connsiteY0" fmla="*/ 0 h 1839915"/>
              <a:gd name="connsiteX1" fmla="*/ 1785095 w 1837690"/>
              <a:gd name="connsiteY1" fmla="*/ 0 h 1839915"/>
              <a:gd name="connsiteX2" fmla="*/ 1837690 w 1837690"/>
              <a:gd name="connsiteY2" fmla="*/ 52595 h 1839915"/>
              <a:gd name="connsiteX3" fmla="*/ 1837690 w 1837690"/>
              <a:gd name="connsiteY3" fmla="*/ 1787320 h 1839915"/>
              <a:gd name="connsiteX4" fmla="*/ 1785095 w 1837690"/>
              <a:gd name="connsiteY4" fmla="*/ 1839915 h 1839915"/>
              <a:gd name="connsiteX5" fmla="*/ 1006950 w 1837690"/>
              <a:gd name="connsiteY5" fmla="*/ 1839915 h 1839915"/>
              <a:gd name="connsiteX6" fmla="*/ 918845 w 1837690"/>
              <a:gd name="connsiteY6" fmla="*/ 1679895 h 1839915"/>
              <a:gd name="connsiteX7" fmla="*/ 830740 w 1837690"/>
              <a:gd name="connsiteY7" fmla="*/ 1839915 h 1839915"/>
              <a:gd name="connsiteX8" fmla="*/ 52595 w 1837690"/>
              <a:gd name="connsiteY8" fmla="*/ 1839915 h 1839915"/>
              <a:gd name="connsiteX9" fmla="*/ 0 w 1837690"/>
              <a:gd name="connsiteY9" fmla="*/ 1787320 h 1839915"/>
              <a:gd name="connsiteX10" fmla="*/ 0 w 1837690"/>
              <a:gd name="connsiteY10" fmla="*/ 52595 h 1839915"/>
              <a:gd name="connsiteX11" fmla="*/ 52595 w 1837690"/>
              <a:gd name="connsiteY11" fmla="*/ 0 h 183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37690" h="1839915">
                <a:moveTo>
                  <a:pt x="52595" y="0"/>
                </a:moveTo>
                <a:lnTo>
                  <a:pt x="1785095" y="0"/>
                </a:lnTo>
                <a:cubicBezTo>
                  <a:pt x="1814142" y="0"/>
                  <a:pt x="1837690" y="23548"/>
                  <a:pt x="1837690" y="52595"/>
                </a:cubicBezTo>
                <a:lnTo>
                  <a:pt x="1837690" y="1787320"/>
                </a:lnTo>
                <a:cubicBezTo>
                  <a:pt x="1837690" y="1816367"/>
                  <a:pt x="1814142" y="1839915"/>
                  <a:pt x="1785095" y="1839915"/>
                </a:cubicBezTo>
                <a:lnTo>
                  <a:pt x="1006950" y="1839915"/>
                </a:lnTo>
                <a:lnTo>
                  <a:pt x="918845" y="1679895"/>
                </a:lnTo>
                <a:lnTo>
                  <a:pt x="830740" y="1839915"/>
                </a:lnTo>
                <a:lnTo>
                  <a:pt x="52595" y="1839915"/>
                </a:lnTo>
                <a:cubicBezTo>
                  <a:pt x="23548" y="1839915"/>
                  <a:pt x="0" y="1816367"/>
                  <a:pt x="0" y="1787320"/>
                </a:cubicBezTo>
                <a:lnTo>
                  <a:pt x="0" y="52595"/>
                </a:lnTo>
                <a:cubicBezTo>
                  <a:pt x="0" y="23548"/>
                  <a:pt x="23548" y="0"/>
                  <a:pt x="5259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288000" tIns="306000" rIns="180000" bIns="144000">
            <a:noAutofit/>
          </a:bodyPr>
          <a:lstStyle>
            <a:lvl1pPr>
              <a:lnSpc>
                <a:spcPct val="124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E1B11995-FFB4-4254-887B-D633334BC80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20" y="4432513"/>
            <a:ext cx="1156080" cy="710987"/>
          </a:xfrm>
          <a:prstGeom prst="rect">
            <a:avLst/>
          </a:prstGeom>
        </p:spPr>
      </p:pic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861F1F17-956A-4C41-928E-BE8737FFC6F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282287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>
          <p15:clr>
            <a:srgbClr val="FBAE40"/>
          </p15:clr>
        </p15:guide>
        <p15:guide id="3" pos="2971" userDrawn="1">
          <p15:clr>
            <a:srgbClr val="FBAE40"/>
          </p15:clr>
        </p15:guide>
        <p15:guide id="5" orient="horz" pos="667">
          <p15:clr>
            <a:srgbClr val="FBAE40"/>
          </p15:clr>
        </p15:guide>
        <p15:guide id="6" orient="horz" pos="3094" userDrawn="1">
          <p15:clr>
            <a:srgbClr val="FBAE40"/>
          </p15:clr>
        </p15:guide>
        <p15:guide id="7" pos="288" userDrawn="1">
          <p15:clr>
            <a:srgbClr val="FBAE40"/>
          </p15:clr>
        </p15:guide>
        <p15:guide id="8" orient="horz" pos="277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3BBC5B1-2797-48A1-B0C8-5ECEEECAD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011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3BBC5B1-2797-48A1-B0C8-5ECEEECAD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 hidden="1">
            <a:extLst>
              <a:ext uri="{FF2B5EF4-FFF2-40B4-BE49-F238E27FC236}">
                <a16:creationId xmlns:a16="http://schemas.microsoft.com/office/drawing/2014/main" id="{E3A1C8B6-70B2-404B-8945-F19BC08DAD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88B5928-E12C-481E-A2FF-5466495EB9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254" y="520700"/>
            <a:ext cx="6769100" cy="3853180"/>
          </a:xfrm>
          <a:prstGeom prst="rect">
            <a:avLst/>
          </a:prstGeom>
        </p:spPr>
      </p:pic>
      <p:sp>
        <p:nvSpPr>
          <p:cNvPr id="18" name="Titel 1">
            <a:extLst>
              <a:ext uri="{FF2B5EF4-FFF2-40B4-BE49-F238E27FC236}">
                <a16:creationId xmlns:a16="http://schemas.microsoft.com/office/drawing/2014/main" id="{BFEC4366-3F12-485D-AEF4-8EB97F73B3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72278" y="1688510"/>
            <a:ext cx="3909600" cy="1227600"/>
          </a:xfrm>
          <a:prstGeom prst="roundRect">
            <a:avLst>
              <a:gd name="adj" fmla="val 2473"/>
            </a:avLst>
          </a:prstGeom>
          <a:solidFill>
            <a:schemeClr val="accent4"/>
          </a:solidFill>
        </p:spPr>
        <p:txBody>
          <a:bodyPr vert="horz" wrap="square" lIns="72000" tIns="0" rIns="72000" bIns="0" rtlCol="0" anchor="ctr" anchorCtr="0">
            <a:noAutofit/>
          </a:bodyPr>
          <a:lstStyle>
            <a:lvl1pPr algn="ctr">
              <a:defRPr lang="nl-NL" dirty="0">
                <a:solidFill>
                  <a:schemeClr val="bg1"/>
                </a:solidFill>
              </a:defRPr>
            </a:lvl1pPr>
          </a:lstStyle>
          <a:p>
            <a:pPr marL="0" lvl="0" algn="ctr">
              <a:lnSpc>
                <a:spcPct val="95000"/>
              </a:lnSpc>
            </a:pPr>
            <a:r>
              <a:rPr lang="nl-NL" dirty="0"/>
              <a:t>Presentatietitel</a:t>
            </a:r>
          </a:p>
        </p:txBody>
      </p:sp>
      <p:sp>
        <p:nvSpPr>
          <p:cNvPr id="16" name="Tijdelijke aanduiding voor tekst 3">
            <a:extLst>
              <a:ext uri="{FF2B5EF4-FFF2-40B4-BE49-F238E27FC236}">
                <a16:creationId xmlns:a16="http://schemas.microsoft.com/office/drawing/2014/main" id="{FBBD0A47-8AB3-46F3-BB03-118198382B4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25254" y="4514441"/>
            <a:ext cx="6530067" cy="232243"/>
          </a:xfrm>
        </p:spPr>
        <p:txBody>
          <a:bodyPr wrap="square">
            <a:spAutoFit/>
          </a:bodyPr>
          <a:lstStyle>
            <a:lvl1pPr>
              <a:defRPr sz="135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DA1F41F7-BCE1-4909-965F-89E64CE04A4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44" y="4220583"/>
            <a:ext cx="1156080" cy="710987"/>
          </a:xfrm>
          <a:prstGeom prst="rect">
            <a:avLst/>
          </a:prstGeom>
        </p:spPr>
      </p:pic>
      <p:sp>
        <p:nvSpPr>
          <p:cNvPr id="15" name="Ondertitel 14">
            <a:extLst>
              <a:ext uri="{FF2B5EF4-FFF2-40B4-BE49-F238E27FC236}">
                <a16:creationId xmlns:a16="http://schemas.microsoft.com/office/drawing/2014/main" id="{85930422-620B-4A01-8055-D8387839FE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9975" y="2773394"/>
            <a:ext cx="3034800" cy="449911"/>
          </a:xfrm>
          <a:custGeom>
            <a:avLst/>
            <a:gdLst>
              <a:gd name="connsiteX0" fmla="*/ 54219 w 3034800"/>
              <a:gd name="connsiteY0" fmla="*/ 0 h 449911"/>
              <a:gd name="connsiteX1" fmla="*/ 1455593 w 3034800"/>
              <a:gd name="connsiteY1" fmla="*/ 0 h 449911"/>
              <a:gd name="connsiteX2" fmla="*/ 1526910 w 3034800"/>
              <a:gd name="connsiteY2" fmla="*/ 118146 h 449911"/>
              <a:gd name="connsiteX3" fmla="*/ 1598226 w 3034800"/>
              <a:gd name="connsiteY3" fmla="*/ 0 h 449911"/>
              <a:gd name="connsiteX4" fmla="*/ 2980583 w 3034800"/>
              <a:gd name="connsiteY4" fmla="*/ 0 h 449911"/>
              <a:gd name="connsiteX5" fmla="*/ 3034070 w 3034800"/>
              <a:gd name="connsiteY5" fmla="*/ 53703 h 449911"/>
              <a:gd name="connsiteX6" fmla="*/ 3034070 w 3034800"/>
              <a:gd name="connsiteY6" fmla="*/ 96367 h 449911"/>
              <a:gd name="connsiteX7" fmla="*/ 3034070 w 3034800"/>
              <a:gd name="connsiteY7" fmla="*/ 130288 h 449911"/>
              <a:gd name="connsiteX8" fmla="*/ 3034800 w 3034800"/>
              <a:gd name="connsiteY8" fmla="*/ 131018 h 449911"/>
              <a:gd name="connsiteX9" fmla="*/ 3034800 w 3034800"/>
              <a:gd name="connsiteY9" fmla="*/ 394992 h 449911"/>
              <a:gd name="connsiteX10" fmla="*/ 3033817 w 3034800"/>
              <a:gd name="connsiteY10" fmla="*/ 395975 h 449911"/>
              <a:gd name="connsiteX11" fmla="*/ 3025713 w 3034800"/>
              <a:gd name="connsiteY11" fmla="*/ 426752 h 449911"/>
              <a:gd name="connsiteX12" fmla="*/ 2980583 w 3034800"/>
              <a:gd name="connsiteY12" fmla="*/ 449911 h 449911"/>
              <a:gd name="connsiteX13" fmla="*/ 54219 w 3034800"/>
              <a:gd name="connsiteY13" fmla="*/ 449911 h 449911"/>
              <a:gd name="connsiteX14" fmla="*/ 1567 w 3034800"/>
              <a:gd name="connsiteY14" fmla="*/ 403592 h 449911"/>
              <a:gd name="connsiteX15" fmla="*/ 808 w 3034800"/>
              <a:gd name="connsiteY15" fmla="*/ 395800 h 449911"/>
              <a:gd name="connsiteX16" fmla="*/ 0 w 3034800"/>
              <a:gd name="connsiteY16" fmla="*/ 394992 h 449911"/>
              <a:gd name="connsiteX17" fmla="*/ 0 w 3034800"/>
              <a:gd name="connsiteY17" fmla="*/ 131018 h 449911"/>
              <a:gd name="connsiteX18" fmla="*/ 731 w 3034800"/>
              <a:gd name="connsiteY18" fmla="*/ 130287 h 449911"/>
              <a:gd name="connsiteX19" fmla="*/ 731 w 3034800"/>
              <a:gd name="connsiteY19" fmla="*/ 113782 h 449911"/>
              <a:gd name="connsiteX20" fmla="*/ 731 w 3034800"/>
              <a:gd name="connsiteY20" fmla="*/ 53703 h 449911"/>
              <a:gd name="connsiteX21" fmla="*/ 54219 w 3034800"/>
              <a:gd name="connsiteY21" fmla="*/ 0 h 449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034800" h="449911">
                <a:moveTo>
                  <a:pt x="54219" y="0"/>
                </a:moveTo>
                <a:cubicBezTo>
                  <a:pt x="54219" y="0"/>
                  <a:pt x="54219" y="0"/>
                  <a:pt x="1455593" y="0"/>
                </a:cubicBezTo>
                <a:cubicBezTo>
                  <a:pt x="1455593" y="0"/>
                  <a:pt x="1455593" y="0"/>
                  <a:pt x="1526910" y="118146"/>
                </a:cubicBezTo>
                <a:cubicBezTo>
                  <a:pt x="1526910" y="118146"/>
                  <a:pt x="1526910" y="118146"/>
                  <a:pt x="1598226" y="0"/>
                </a:cubicBezTo>
                <a:cubicBezTo>
                  <a:pt x="1598226" y="0"/>
                  <a:pt x="1598226" y="0"/>
                  <a:pt x="2980583" y="0"/>
                </a:cubicBezTo>
                <a:cubicBezTo>
                  <a:pt x="3034070" y="0"/>
                  <a:pt x="3034070" y="53703"/>
                  <a:pt x="3034070" y="53703"/>
                </a:cubicBezTo>
                <a:cubicBezTo>
                  <a:pt x="3034070" y="53703"/>
                  <a:pt x="3034070" y="53703"/>
                  <a:pt x="3034070" y="96367"/>
                </a:cubicBezTo>
                <a:lnTo>
                  <a:pt x="3034070" y="130288"/>
                </a:lnTo>
                <a:lnTo>
                  <a:pt x="3034800" y="131018"/>
                </a:lnTo>
                <a:lnTo>
                  <a:pt x="3034800" y="394992"/>
                </a:lnTo>
                <a:lnTo>
                  <a:pt x="3033817" y="395975"/>
                </a:lnTo>
                <a:lnTo>
                  <a:pt x="3025713" y="426752"/>
                </a:lnTo>
                <a:cubicBezTo>
                  <a:pt x="3010669" y="449911"/>
                  <a:pt x="2980583" y="449911"/>
                  <a:pt x="2980583" y="449911"/>
                </a:cubicBezTo>
                <a:cubicBezTo>
                  <a:pt x="2980583" y="449911"/>
                  <a:pt x="2980583" y="449911"/>
                  <a:pt x="54219" y="449911"/>
                </a:cubicBezTo>
                <a:cubicBezTo>
                  <a:pt x="14103" y="449911"/>
                  <a:pt x="4074" y="419032"/>
                  <a:pt x="1567" y="403592"/>
                </a:cubicBezTo>
                <a:lnTo>
                  <a:pt x="808" y="395800"/>
                </a:lnTo>
                <a:lnTo>
                  <a:pt x="0" y="394992"/>
                </a:lnTo>
                <a:lnTo>
                  <a:pt x="0" y="131018"/>
                </a:lnTo>
                <a:lnTo>
                  <a:pt x="731" y="130287"/>
                </a:lnTo>
                <a:lnTo>
                  <a:pt x="731" y="113782"/>
                </a:lnTo>
                <a:cubicBezTo>
                  <a:pt x="731" y="95034"/>
                  <a:pt x="731" y="75035"/>
                  <a:pt x="731" y="53703"/>
                </a:cubicBezTo>
                <a:cubicBezTo>
                  <a:pt x="731" y="0"/>
                  <a:pt x="54219" y="0"/>
                  <a:pt x="54219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126000" rIns="0" bIns="72000" anchor="t" anchorCtr="0">
            <a:noAutofit/>
          </a:bodyPr>
          <a:lstStyle>
            <a:lvl1pPr marL="0" indent="0" algn="ctr">
              <a:lnSpc>
                <a:spcPct val="110000"/>
              </a:lnSpc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Plaats en da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6949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schema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6114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7789" y="1463040"/>
            <a:ext cx="4824412" cy="300259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CF611EB8-8B5A-437C-96F4-C1D64B69AB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8962" y="1522413"/>
            <a:ext cx="1406525" cy="1408228"/>
          </a:xfrm>
          <a:custGeom>
            <a:avLst/>
            <a:gdLst>
              <a:gd name="connsiteX0" fmla="*/ 37864 w 1406525"/>
              <a:gd name="connsiteY0" fmla="*/ 0 h 1408228"/>
              <a:gd name="connsiteX1" fmla="*/ 1368661 w 1406525"/>
              <a:gd name="connsiteY1" fmla="*/ 0 h 1408228"/>
              <a:gd name="connsiteX2" fmla="*/ 1406525 w 1406525"/>
              <a:gd name="connsiteY2" fmla="*/ 37864 h 1408228"/>
              <a:gd name="connsiteX3" fmla="*/ 1406525 w 1406525"/>
              <a:gd name="connsiteY3" fmla="*/ 1370364 h 1408228"/>
              <a:gd name="connsiteX4" fmla="*/ 1368661 w 1406525"/>
              <a:gd name="connsiteY4" fmla="*/ 1408228 h 1408228"/>
              <a:gd name="connsiteX5" fmla="*/ 766028 w 1406525"/>
              <a:gd name="connsiteY5" fmla="*/ 1408228 h 1408228"/>
              <a:gd name="connsiteX6" fmla="*/ 703262 w 1406525"/>
              <a:gd name="connsiteY6" fmla="*/ 1300879 h 1408228"/>
              <a:gd name="connsiteX7" fmla="*/ 640496 w 1406525"/>
              <a:gd name="connsiteY7" fmla="*/ 1408228 h 1408228"/>
              <a:gd name="connsiteX8" fmla="*/ 37864 w 1406525"/>
              <a:gd name="connsiteY8" fmla="*/ 1408228 h 1408228"/>
              <a:gd name="connsiteX9" fmla="*/ 0 w 1406525"/>
              <a:gd name="connsiteY9" fmla="*/ 1370364 h 1408228"/>
              <a:gd name="connsiteX10" fmla="*/ 0 w 1406525"/>
              <a:gd name="connsiteY10" fmla="*/ 37864 h 1408228"/>
              <a:gd name="connsiteX11" fmla="*/ 37864 w 1406525"/>
              <a:gd name="connsiteY11" fmla="*/ 0 h 1408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06525" h="1408228">
                <a:moveTo>
                  <a:pt x="37864" y="0"/>
                </a:moveTo>
                <a:lnTo>
                  <a:pt x="1368661" y="0"/>
                </a:lnTo>
                <a:cubicBezTo>
                  <a:pt x="1389573" y="0"/>
                  <a:pt x="1406525" y="16952"/>
                  <a:pt x="1406525" y="37864"/>
                </a:cubicBezTo>
                <a:lnTo>
                  <a:pt x="1406525" y="1370364"/>
                </a:lnTo>
                <a:cubicBezTo>
                  <a:pt x="1406525" y="1391276"/>
                  <a:pt x="1389573" y="1408228"/>
                  <a:pt x="1368661" y="1408228"/>
                </a:cubicBezTo>
                <a:lnTo>
                  <a:pt x="766028" y="1408228"/>
                </a:lnTo>
                <a:lnTo>
                  <a:pt x="703262" y="1300879"/>
                </a:lnTo>
                <a:lnTo>
                  <a:pt x="640496" y="1408228"/>
                </a:lnTo>
                <a:lnTo>
                  <a:pt x="37864" y="1408228"/>
                </a:lnTo>
                <a:cubicBezTo>
                  <a:pt x="16952" y="1408228"/>
                  <a:pt x="0" y="1391276"/>
                  <a:pt x="0" y="1370364"/>
                </a:cubicBezTo>
                <a:lnTo>
                  <a:pt x="0" y="37864"/>
                </a:lnTo>
                <a:cubicBezTo>
                  <a:pt x="0" y="16952"/>
                  <a:pt x="16952" y="0"/>
                  <a:pt x="37864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216000" tIns="216000" rIns="180000" bIns="144000">
            <a:noAutofit/>
          </a:bodyPr>
          <a:lstStyle>
            <a:lvl1pPr>
              <a:lnSpc>
                <a:spcPct val="110000"/>
              </a:lnSpc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0" name="Tijdelijke aanduiding voor tekst 29">
            <a:extLst>
              <a:ext uri="{FF2B5EF4-FFF2-40B4-BE49-F238E27FC236}">
                <a16:creationId xmlns:a16="http://schemas.microsoft.com/office/drawing/2014/main" id="{610757CB-D453-448F-B6F6-81BDEE824E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25662" y="1522413"/>
            <a:ext cx="1406525" cy="1408228"/>
          </a:xfrm>
          <a:custGeom>
            <a:avLst/>
            <a:gdLst>
              <a:gd name="connsiteX0" fmla="*/ 1 w 1406525"/>
              <a:gd name="connsiteY0" fmla="*/ 641349 h 1408228"/>
              <a:gd name="connsiteX1" fmla="*/ 1 w 1406525"/>
              <a:gd name="connsiteY1" fmla="*/ 766881 h 1408228"/>
              <a:gd name="connsiteX2" fmla="*/ 107350 w 1406525"/>
              <a:gd name="connsiteY2" fmla="*/ 704115 h 1408228"/>
              <a:gd name="connsiteX3" fmla="*/ 37864 w 1406525"/>
              <a:gd name="connsiteY3" fmla="*/ 0 h 1408228"/>
              <a:gd name="connsiteX4" fmla="*/ 1368661 w 1406525"/>
              <a:gd name="connsiteY4" fmla="*/ 0 h 1408228"/>
              <a:gd name="connsiteX5" fmla="*/ 1406525 w 1406525"/>
              <a:gd name="connsiteY5" fmla="*/ 37864 h 1408228"/>
              <a:gd name="connsiteX6" fmla="*/ 1406525 w 1406525"/>
              <a:gd name="connsiteY6" fmla="*/ 1370364 h 1408228"/>
              <a:gd name="connsiteX7" fmla="*/ 1368661 w 1406525"/>
              <a:gd name="connsiteY7" fmla="*/ 1408228 h 1408228"/>
              <a:gd name="connsiteX8" fmla="*/ 37864 w 1406525"/>
              <a:gd name="connsiteY8" fmla="*/ 1408228 h 1408228"/>
              <a:gd name="connsiteX9" fmla="*/ 0 w 1406525"/>
              <a:gd name="connsiteY9" fmla="*/ 1370364 h 1408228"/>
              <a:gd name="connsiteX10" fmla="*/ 0 w 1406525"/>
              <a:gd name="connsiteY10" fmla="*/ 37864 h 1408228"/>
              <a:gd name="connsiteX11" fmla="*/ 37864 w 1406525"/>
              <a:gd name="connsiteY11" fmla="*/ 0 h 1408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06525" h="1408228">
                <a:moveTo>
                  <a:pt x="1" y="641349"/>
                </a:moveTo>
                <a:lnTo>
                  <a:pt x="1" y="766881"/>
                </a:lnTo>
                <a:lnTo>
                  <a:pt x="107350" y="704115"/>
                </a:lnTo>
                <a:close/>
                <a:moveTo>
                  <a:pt x="37864" y="0"/>
                </a:moveTo>
                <a:lnTo>
                  <a:pt x="1368661" y="0"/>
                </a:lnTo>
                <a:cubicBezTo>
                  <a:pt x="1389573" y="0"/>
                  <a:pt x="1406525" y="16952"/>
                  <a:pt x="1406525" y="37864"/>
                </a:cubicBezTo>
                <a:lnTo>
                  <a:pt x="1406525" y="1370364"/>
                </a:lnTo>
                <a:cubicBezTo>
                  <a:pt x="1406525" y="1391276"/>
                  <a:pt x="1389573" y="1408228"/>
                  <a:pt x="1368661" y="1408228"/>
                </a:cubicBezTo>
                <a:lnTo>
                  <a:pt x="37864" y="1408228"/>
                </a:lnTo>
                <a:cubicBezTo>
                  <a:pt x="16952" y="1408228"/>
                  <a:pt x="0" y="1391276"/>
                  <a:pt x="0" y="1370364"/>
                </a:cubicBezTo>
                <a:lnTo>
                  <a:pt x="0" y="37864"/>
                </a:lnTo>
                <a:cubicBezTo>
                  <a:pt x="0" y="16952"/>
                  <a:pt x="16952" y="0"/>
                  <a:pt x="3786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216000" tIns="216000" rIns="180000" bIns="144000">
            <a:noAutofit/>
          </a:bodyPr>
          <a:lstStyle>
            <a:lvl1pPr>
              <a:lnSpc>
                <a:spcPct val="110000"/>
              </a:lnSpc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2" name="Tijdelijke aanduiding voor tekst 31">
            <a:extLst>
              <a:ext uri="{FF2B5EF4-FFF2-40B4-BE49-F238E27FC236}">
                <a16:creationId xmlns:a16="http://schemas.microsoft.com/office/drawing/2014/main" id="{0FAEBA7A-0CDB-4A0F-9956-64BCFFBF8C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88963" y="3057410"/>
            <a:ext cx="1406525" cy="1408228"/>
          </a:xfrm>
          <a:custGeom>
            <a:avLst/>
            <a:gdLst>
              <a:gd name="connsiteX0" fmla="*/ 1406525 w 1406525"/>
              <a:gd name="connsiteY0" fmla="*/ 641349 h 1408228"/>
              <a:gd name="connsiteX1" fmla="*/ 1299176 w 1406525"/>
              <a:gd name="connsiteY1" fmla="*/ 704115 h 1408228"/>
              <a:gd name="connsiteX2" fmla="*/ 1406525 w 1406525"/>
              <a:gd name="connsiteY2" fmla="*/ 766881 h 1408228"/>
              <a:gd name="connsiteX3" fmla="*/ 37864 w 1406525"/>
              <a:gd name="connsiteY3" fmla="*/ 0 h 1408228"/>
              <a:gd name="connsiteX4" fmla="*/ 1368661 w 1406525"/>
              <a:gd name="connsiteY4" fmla="*/ 0 h 1408228"/>
              <a:gd name="connsiteX5" fmla="*/ 1406525 w 1406525"/>
              <a:gd name="connsiteY5" fmla="*/ 37864 h 1408228"/>
              <a:gd name="connsiteX6" fmla="*/ 1406525 w 1406525"/>
              <a:gd name="connsiteY6" fmla="*/ 1370364 h 1408228"/>
              <a:gd name="connsiteX7" fmla="*/ 1368661 w 1406525"/>
              <a:gd name="connsiteY7" fmla="*/ 1408228 h 1408228"/>
              <a:gd name="connsiteX8" fmla="*/ 37864 w 1406525"/>
              <a:gd name="connsiteY8" fmla="*/ 1408228 h 1408228"/>
              <a:gd name="connsiteX9" fmla="*/ 0 w 1406525"/>
              <a:gd name="connsiteY9" fmla="*/ 1370364 h 1408228"/>
              <a:gd name="connsiteX10" fmla="*/ 0 w 1406525"/>
              <a:gd name="connsiteY10" fmla="*/ 37864 h 1408228"/>
              <a:gd name="connsiteX11" fmla="*/ 37864 w 1406525"/>
              <a:gd name="connsiteY11" fmla="*/ 0 h 1408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06525" h="1408228">
                <a:moveTo>
                  <a:pt x="1406525" y="641349"/>
                </a:moveTo>
                <a:lnTo>
                  <a:pt x="1299176" y="704115"/>
                </a:lnTo>
                <a:lnTo>
                  <a:pt x="1406525" y="766881"/>
                </a:lnTo>
                <a:close/>
                <a:moveTo>
                  <a:pt x="37864" y="0"/>
                </a:moveTo>
                <a:lnTo>
                  <a:pt x="1368661" y="0"/>
                </a:lnTo>
                <a:cubicBezTo>
                  <a:pt x="1389573" y="0"/>
                  <a:pt x="1406525" y="16952"/>
                  <a:pt x="1406525" y="37864"/>
                </a:cubicBezTo>
                <a:lnTo>
                  <a:pt x="1406525" y="1370364"/>
                </a:lnTo>
                <a:cubicBezTo>
                  <a:pt x="1406525" y="1391276"/>
                  <a:pt x="1389573" y="1408228"/>
                  <a:pt x="1368661" y="1408228"/>
                </a:cubicBezTo>
                <a:lnTo>
                  <a:pt x="37864" y="1408228"/>
                </a:lnTo>
                <a:cubicBezTo>
                  <a:pt x="16952" y="1408228"/>
                  <a:pt x="0" y="1391276"/>
                  <a:pt x="0" y="1370364"/>
                </a:cubicBezTo>
                <a:lnTo>
                  <a:pt x="0" y="37864"/>
                </a:lnTo>
                <a:cubicBezTo>
                  <a:pt x="0" y="16952"/>
                  <a:pt x="16952" y="0"/>
                  <a:pt x="37864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216000" tIns="216000" rIns="180000" bIns="144000">
            <a:noAutofit/>
          </a:bodyPr>
          <a:lstStyle>
            <a:lvl1pPr>
              <a:lnSpc>
                <a:spcPct val="110000"/>
              </a:lnSpc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1" name="Tijdelijke aanduiding voor tekst 30">
            <a:extLst>
              <a:ext uri="{FF2B5EF4-FFF2-40B4-BE49-F238E27FC236}">
                <a16:creationId xmlns:a16="http://schemas.microsoft.com/office/drawing/2014/main" id="{F642FE22-93BE-4823-8EE7-CE9CA2703A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5662" y="3057410"/>
            <a:ext cx="1406525" cy="1408228"/>
          </a:xfrm>
          <a:custGeom>
            <a:avLst/>
            <a:gdLst>
              <a:gd name="connsiteX0" fmla="*/ 37864 w 1406525"/>
              <a:gd name="connsiteY0" fmla="*/ 0 h 1408228"/>
              <a:gd name="connsiteX1" fmla="*/ 640497 w 1406525"/>
              <a:gd name="connsiteY1" fmla="*/ 0 h 1408228"/>
              <a:gd name="connsiteX2" fmla="*/ 703263 w 1406525"/>
              <a:gd name="connsiteY2" fmla="*/ 107349 h 1408228"/>
              <a:gd name="connsiteX3" fmla="*/ 766029 w 1406525"/>
              <a:gd name="connsiteY3" fmla="*/ 0 h 1408228"/>
              <a:gd name="connsiteX4" fmla="*/ 1368661 w 1406525"/>
              <a:gd name="connsiteY4" fmla="*/ 0 h 1408228"/>
              <a:gd name="connsiteX5" fmla="*/ 1406525 w 1406525"/>
              <a:gd name="connsiteY5" fmla="*/ 37864 h 1408228"/>
              <a:gd name="connsiteX6" fmla="*/ 1406525 w 1406525"/>
              <a:gd name="connsiteY6" fmla="*/ 1370364 h 1408228"/>
              <a:gd name="connsiteX7" fmla="*/ 1368661 w 1406525"/>
              <a:gd name="connsiteY7" fmla="*/ 1408228 h 1408228"/>
              <a:gd name="connsiteX8" fmla="*/ 37864 w 1406525"/>
              <a:gd name="connsiteY8" fmla="*/ 1408228 h 1408228"/>
              <a:gd name="connsiteX9" fmla="*/ 0 w 1406525"/>
              <a:gd name="connsiteY9" fmla="*/ 1370364 h 1408228"/>
              <a:gd name="connsiteX10" fmla="*/ 0 w 1406525"/>
              <a:gd name="connsiteY10" fmla="*/ 37864 h 1408228"/>
              <a:gd name="connsiteX11" fmla="*/ 37864 w 1406525"/>
              <a:gd name="connsiteY11" fmla="*/ 0 h 1408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06525" h="1408228">
                <a:moveTo>
                  <a:pt x="37864" y="0"/>
                </a:moveTo>
                <a:lnTo>
                  <a:pt x="640497" y="0"/>
                </a:lnTo>
                <a:lnTo>
                  <a:pt x="703263" y="107349"/>
                </a:lnTo>
                <a:lnTo>
                  <a:pt x="766029" y="0"/>
                </a:lnTo>
                <a:lnTo>
                  <a:pt x="1368661" y="0"/>
                </a:lnTo>
                <a:cubicBezTo>
                  <a:pt x="1389573" y="0"/>
                  <a:pt x="1406525" y="16952"/>
                  <a:pt x="1406525" y="37864"/>
                </a:cubicBezTo>
                <a:lnTo>
                  <a:pt x="1406525" y="1370364"/>
                </a:lnTo>
                <a:cubicBezTo>
                  <a:pt x="1406525" y="1391276"/>
                  <a:pt x="1389573" y="1408228"/>
                  <a:pt x="1368661" y="1408228"/>
                </a:cubicBezTo>
                <a:lnTo>
                  <a:pt x="37864" y="1408228"/>
                </a:lnTo>
                <a:cubicBezTo>
                  <a:pt x="16952" y="1408228"/>
                  <a:pt x="0" y="1391276"/>
                  <a:pt x="0" y="1370364"/>
                </a:cubicBezTo>
                <a:lnTo>
                  <a:pt x="0" y="37864"/>
                </a:lnTo>
                <a:cubicBezTo>
                  <a:pt x="0" y="16952"/>
                  <a:pt x="16952" y="0"/>
                  <a:pt x="37864" y="0"/>
                </a:cubicBezTo>
                <a:close/>
              </a:path>
            </a:pathLst>
          </a:custGeom>
          <a:solidFill>
            <a:srgbClr val="76B82A"/>
          </a:solidFill>
        </p:spPr>
        <p:txBody>
          <a:bodyPr wrap="square" lIns="216000" tIns="216000" rIns="180000" bIns="144000">
            <a:noAutofit/>
          </a:bodyPr>
          <a:lstStyle>
            <a:lvl1pPr>
              <a:lnSpc>
                <a:spcPct val="110000"/>
              </a:lnSpc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6CBB6315-1EDD-4050-BF7D-0871A482FCA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20" y="4432513"/>
            <a:ext cx="1156080" cy="710987"/>
          </a:xfrm>
          <a:prstGeom prst="rect">
            <a:avLst/>
          </a:prstGeom>
        </p:spPr>
      </p:pic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45D79F35-73D2-416E-8988-D6611B9FD6F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60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>
          <p15:clr>
            <a:srgbClr val="FBAE40"/>
          </p15:clr>
        </p15:guide>
        <p15:guide id="3" pos="2449" userDrawn="1">
          <p15:clr>
            <a:srgbClr val="FBAE40"/>
          </p15:clr>
        </p15:guide>
        <p15:guide id="4" pos="371" userDrawn="1">
          <p15:clr>
            <a:srgbClr val="FBAE40"/>
          </p15:clr>
        </p15:guide>
        <p15:guide id="5" orient="horz" pos="959" userDrawn="1">
          <p15:clr>
            <a:srgbClr val="FBAE40"/>
          </p15:clr>
        </p15:guide>
        <p15:guide id="6" orient="horz" pos="281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718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453312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7" name="Tijdelijke aanduiding voor tekst 26">
            <a:extLst>
              <a:ext uri="{FF2B5EF4-FFF2-40B4-BE49-F238E27FC236}">
                <a16:creationId xmlns:a16="http://schemas.microsoft.com/office/drawing/2014/main" id="{D55FC9EF-F2A7-4241-95AC-7741C2E357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7F73FC30-3860-4A7B-BFFE-712C12EA02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DD10886D-E504-461F-883C-B68B1F9A4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500364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pa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2618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453312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0" name="Tijdelijke aanduiding voor tekst 26">
            <a:extLst>
              <a:ext uri="{FF2B5EF4-FFF2-40B4-BE49-F238E27FC236}">
                <a16:creationId xmlns:a16="http://schemas.microsoft.com/office/drawing/2014/main" id="{C1B30B82-D873-4FCB-98F0-C6EE50FAA8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51A3EA87-7B1A-446F-9409-8D5327889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EF13D52-0CC9-496A-B9C5-E57F5CCD4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682633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136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453312" cy="29084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0" name="Tijdelijke aanduiding voor tekst 26">
            <a:extLst>
              <a:ext uri="{FF2B5EF4-FFF2-40B4-BE49-F238E27FC236}">
                <a16:creationId xmlns:a16="http://schemas.microsoft.com/office/drawing/2014/main" id="{0E2B96D4-B527-4913-9019-C27CF73DAA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358F5A27-50CD-4293-A820-F2BA54F3AB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F3A05EA4-6B03-4F14-800A-AEC76A2C4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102304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ora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111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0" name="Tijdelijke aanduiding voor tekst 26">
            <a:extLst>
              <a:ext uri="{FF2B5EF4-FFF2-40B4-BE49-F238E27FC236}">
                <a16:creationId xmlns:a16="http://schemas.microsoft.com/office/drawing/2014/main" id="{35056B2C-99AD-4969-8B10-63F301207F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C34C0A61-8D65-44CA-BB9A-ACFD743DAA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5CD51441-A0A2-4590-9B80-A73478AF7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307832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2-kolo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0431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078EBC3-1397-4D6E-959E-3FA0FC9A05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384300"/>
            <a:ext cx="7812088" cy="3275013"/>
          </a:xfrm>
        </p:spPr>
        <p:txBody>
          <a:bodyPr numCol="2" spcCol="360000"/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  <a:lvl2pPr marL="182563" indent="-179388">
              <a:defRPr sz="1100">
                <a:solidFill>
                  <a:schemeClr val="bg1"/>
                </a:solidFill>
              </a:defRPr>
            </a:lvl2pPr>
            <a:lvl3pPr marL="358775" indent="-179388">
              <a:defRPr sz="1100">
                <a:solidFill>
                  <a:schemeClr val="bg1"/>
                </a:solidFill>
              </a:defRPr>
            </a:lvl3pPr>
            <a:lvl4pPr marL="541338" indent="-179388">
              <a:defRPr sz="1100">
                <a:solidFill>
                  <a:schemeClr val="bg1"/>
                </a:solidFill>
              </a:defRPr>
            </a:lvl4pPr>
            <a:lvl5pPr marL="717550" indent="-179388"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 over 2 kolomm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812088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2" name="Tijdelijke aanduiding voor tekst 26">
            <a:extLst>
              <a:ext uri="{FF2B5EF4-FFF2-40B4-BE49-F238E27FC236}">
                <a16:creationId xmlns:a16="http://schemas.microsoft.com/office/drawing/2014/main" id="{4AEE6231-94DD-4F51-ABB6-19E17957E7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5853EB38-99D5-4C24-81C3-C2F65F8F9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168721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5465" userDrawn="1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4-kolo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973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812088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2" name="Tijdelijke aanduiding voor tekst 26">
            <a:extLst>
              <a:ext uri="{FF2B5EF4-FFF2-40B4-BE49-F238E27FC236}">
                <a16:creationId xmlns:a16="http://schemas.microsoft.com/office/drawing/2014/main" id="{4AEE6231-94DD-4F51-ABB6-19E17957E7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078EBC3-1397-4D6E-959E-3FA0FC9A05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384300"/>
            <a:ext cx="7812088" cy="3275013"/>
          </a:xfrm>
        </p:spPr>
        <p:txBody>
          <a:bodyPr numCol="4" spcCol="360000"/>
          <a:lstStyle>
            <a:lvl1pPr marL="0" indent="0">
              <a:lnSpc>
                <a:spcPct val="110000"/>
              </a:lnSpc>
              <a:buNone/>
              <a:defRPr sz="1000">
                <a:solidFill>
                  <a:schemeClr val="bg1"/>
                </a:solidFill>
              </a:defRPr>
            </a:lvl1pPr>
            <a:lvl2pPr marL="182563" indent="-179388">
              <a:lnSpc>
                <a:spcPct val="110000"/>
              </a:lnSpc>
              <a:defRPr sz="1000">
                <a:solidFill>
                  <a:schemeClr val="bg1"/>
                </a:solidFill>
              </a:defRPr>
            </a:lvl2pPr>
            <a:lvl3pPr marL="358775" indent="-179388">
              <a:lnSpc>
                <a:spcPct val="110000"/>
              </a:lnSpc>
              <a:defRPr sz="1000">
                <a:solidFill>
                  <a:schemeClr val="bg1"/>
                </a:solidFill>
              </a:defRPr>
            </a:lvl3pPr>
            <a:lvl4pPr marL="541338" indent="-179388">
              <a:lnSpc>
                <a:spcPct val="110000"/>
              </a:lnSpc>
              <a:defRPr sz="1000">
                <a:solidFill>
                  <a:schemeClr val="bg1"/>
                </a:solidFill>
              </a:defRPr>
            </a:lvl4pPr>
            <a:lvl5pPr marL="717550" indent="-179388">
              <a:lnSpc>
                <a:spcPct val="110000"/>
              </a:lnSpc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 over 4 kolomm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AC703644-42FB-46DE-A766-7C8D1F25C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01127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5465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-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377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7F73FC30-3860-4A7B-BFFE-712C12EA02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22" name="Tijdelijke aanduiding voor tekst 26">
            <a:extLst>
              <a:ext uri="{FF2B5EF4-FFF2-40B4-BE49-F238E27FC236}">
                <a16:creationId xmlns:a16="http://schemas.microsoft.com/office/drawing/2014/main" id="{2F385CBA-388B-4167-BFC4-437D5C24B7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3" name="Tijdelijke aanduiding voor tekst 26">
            <a:extLst>
              <a:ext uri="{FF2B5EF4-FFF2-40B4-BE49-F238E27FC236}">
                <a16:creationId xmlns:a16="http://schemas.microsoft.com/office/drawing/2014/main" id="{46F0AC6E-C3BE-4722-81C4-F4AC202237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831F8A1-07AF-418A-83E9-B6ECF7F9E7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6333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- pa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727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51A3EA87-7B1A-446F-9409-8D5327889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7" name="Titel 19">
            <a:extLst>
              <a:ext uri="{FF2B5EF4-FFF2-40B4-BE49-F238E27FC236}">
                <a16:creationId xmlns:a16="http://schemas.microsoft.com/office/drawing/2014/main" id="{24D76B80-8430-41FB-8FC3-E1686DB08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8" name="Tijdelijke aanduiding voor tekst 26">
            <a:extLst>
              <a:ext uri="{FF2B5EF4-FFF2-40B4-BE49-F238E27FC236}">
                <a16:creationId xmlns:a16="http://schemas.microsoft.com/office/drawing/2014/main" id="{C03B06F7-0768-4506-9B6E-93AD8348A6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3F970D26-4655-4CE8-A256-D09FBB0953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CEDF884-265F-4227-BB57-A6EBDB0633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96623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-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366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358F5A27-50CD-4293-A820-F2BA54F3AB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7" name="Titel 19">
            <a:extLst>
              <a:ext uri="{FF2B5EF4-FFF2-40B4-BE49-F238E27FC236}">
                <a16:creationId xmlns:a16="http://schemas.microsoft.com/office/drawing/2014/main" id="{A1C65510-C9C4-4263-B1D6-BA3D2CC920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8" name="Tijdelijke aanduiding voor tekst 26">
            <a:extLst>
              <a:ext uri="{FF2B5EF4-FFF2-40B4-BE49-F238E27FC236}">
                <a16:creationId xmlns:a16="http://schemas.microsoft.com/office/drawing/2014/main" id="{4533D43D-3F8E-4088-93C4-F35C768F8D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942DD3BA-4C8E-4DDF-8E3D-499F975370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0C0858F2-BF96-4BC0-83E2-0EECD0AA5DA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725880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sopgave vers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B21246-8029-4D27-ABA3-FC7D22A8DF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3687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AD9CE747-9EB7-48D0-B446-7DAACF2DBF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D5613FC6-4EB5-47AA-B5C3-15D1564490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632200" cy="5143500"/>
          </a:xfrm>
          <a:prstGeom prst="rect">
            <a:avLst/>
          </a:prstGeom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E391A31-32E7-4137-AE26-A0B0274E6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62426" y="1566862"/>
            <a:ext cx="4686300" cy="2628900"/>
          </a:xfrm>
        </p:spPr>
        <p:txBody>
          <a:bodyPr/>
          <a:lstStyle>
            <a:lvl1pPr marL="182563" indent="-182563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4486275" algn="r"/>
              </a:tabLst>
              <a:defRPr sz="1200"/>
            </a:lvl1pPr>
            <a:lvl2pPr>
              <a:defRPr sz="1100"/>
            </a:lvl2pPr>
            <a:lvl3pPr>
              <a:defRPr sz="1000"/>
            </a:lvl3pPr>
            <a:lvl4pPr>
              <a:defRPr sz="800"/>
            </a:lvl4pPr>
            <a:lvl5pPr>
              <a:defRPr sz="700"/>
            </a:lvl5pPr>
          </a:lstStyle>
          <a:p>
            <a:pPr lvl="0"/>
            <a:r>
              <a:rPr lang="nl-NL" dirty="0"/>
              <a:t>Inhoudsopgav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6D78475-2ECB-48A2-91AA-D923D293E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0" y="898525"/>
            <a:ext cx="2733675" cy="704850"/>
          </a:xfrm>
          <a:prstGeom prst="roundRect">
            <a:avLst>
              <a:gd name="adj" fmla="val 9009"/>
            </a:avLst>
          </a:prstGeom>
          <a:solidFill>
            <a:schemeClr val="accent4">
              <a:alpha val="93000"/>
            </a:schemeClr>
          </a:solidFill>
        </p:spPr>
        <p:txBody>
          <a:bodyPr anchor="ctr" anchorCtr="0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741E744F-C6F0-48E8-9B49-34E76EEEBA7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44" y="4220583"/>
            <a:ext cx="1156080" cy="710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7295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afbeeldingen en tekst -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889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358F5A27-50CD-4293-A820-F2BA54F3AB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08174" y="1508774"/>
            <a:ext cx="5616575" cy="714665"/>
          </a:xfrm>
        </p:spPr>
        <p:txBody>
          <a:bodyPr anchor="ctr" anchorCtr="0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</p:txBody>
      </p:sp>
      <p:sp>
        <p:nvSpPr>
          <p:cNvPr id="17" name="Titel 19">
            <a:extLst>
              <a:ext uri="{FF2B5EF4-FFF2-40B4-BE49-F238E27FC236}">
                <a16:creationId xmlns:a16="http://schemas.microsoft.com/office/drawing/2014/main" id="{A1C65510-C9C4-4263-B1D6-BA3D2CC920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8" name="Tijdelijke aanduiding voor tekst 26">
            <a:extLst>
              <a:ext uri="{FF2B5EF4-FFF2-40B4-BE49-F238E27FC236}">
                <a16:creationId xmlns:a16="http://schemas.microsoft.com/office/drawing/2014/main" id="{4533D43D-3F8E-4088-93C4-F35C768F8D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942DD3BA-4C8E-4DDF-8E3D-499F975370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77E285DC-B84F-4F53-83A9-CB7D730DA23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4388" y="1384300"/>
            <a:ext cx="945356" cy="963613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" name="Tijdelijke aanduiding voor afbeelding 2">
            <a:extLst>
              <a:ext uri="{FF2B5EF4-FFF2-40B4-BE49-F238E27FC236}">
                <a16:creationId xmlns:a16="http://schemas.microsoft.com/office/drawing/2014/main" id="{7CECB0D6-0345-41D3-A48B-7A8DF1AD8A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4388" y="2527300"/>
            <a:ext cx="945356" cy="963613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" name="Tijdelijke aanduiding voor afbeelding 2">
            <a:extLst>
              <a:ext uri="{FF2B5EF4-FFF2-40B4-BE49-F238E27FC236}">
                <a16:creationId xmlns:a16="http://schemas.microsoft.com/office/drawing/2014/main" id="{B221E134-CD9F-4DA4-AE10-084252BB7A4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4388" y="3658870"/>
            <a:ext cx="945356" cy="963613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20" name="Tijdelijke aanduiding voor tekst 14">
            <a:extLst>
              <a:ext uri="{FF2B5EF4-FFF2-40B4-BE49-F238E27FC236}">
                <a16:creationId xmlns:a16="http://schemas.microsoft.com/office/drawing/2014/main" id="{1D59B75A-9E85-446C-82A8-34EEF9FD03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08174" y="2651774"/>
            <a:ext cx="5616575" cy="714665"/>
          </a:xfrm>
        </p:spPr>
        <p:txBody>
          <a:bodyPr anchor="ctr" anchorCtr="0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</p:txBody>
      </p:sp>
      <p:sp>
        <p:nvSpPr>
          <p:cNvPr id="22" name="Tijdelijke aanduiding voor tekst 14">
            <a:extLst>
              <a:ext uri="{FF2B5EF4-FFF2-40B4-BE49-F238E27FC236}">
                <a16:creationId xmlns:a16="http://schemas.microsoft.com/office/drawing/2014/main" id="{C492B85D-EEAD-413B-86FF-E0674C17F86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08174" y="3783344"/>
            <a:ext cx="5616575" cy="714665"/>
          </a:xfrm>
        </p:spPr>
        <p:txBody>
          <a:bodyPr anchor="ctr" anchorCtr="0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592F51F5-57E4-4793-A8F4-AAF2908F680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225046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  <p15:guide id="7" pos="1202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- ora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256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C34C0A61-8D65-44CA-BB9A-ACFD743DAA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7" name="Titel 19">
            <a:extLst>
              <a:ext uri="{FF2B5EF4-FFF2-40B4-BE49-F238E27FC236}">
                <a16:creationId xmlns:a16="http://schemas.microsoft.com/office/drawing/2014/main" id="{3F3443E5-0C38-4B93-9042-99B8181584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8" name="Tijdelijke aanduiding voor tekst 26">
            <a:extLst>
              <a:ext uri="{FF2B5EF4-FFF2-40B4-BE49-F238E27FC236}">
                <a16:creationId xmlns:a16="http://schemas.microsoft.com/office/drawing/2014/main" id="{712F1EE6-52F3-41F4-9EB8-23B80FDB38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39D3BBB8-DB64-432B-A655-78F844F175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4EDA13CC-8E91-4010-8AEB-C838EDEB2D4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198065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afbeeldingen en tekst - ora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289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17" name="Titel 19">
            <a:extLst>
              <a:ext uri="{FF2B5EF4-FFF2-40B4-BE49-F238E27FC236}">
                <a16:creationId xmlns:a16="http://schemas.microsoft.com/office/drawing/2014/main" id="{3F3443E5-0C38-4B93-9042-99B8181584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8" name="Tijdelijke aanduiding voor tekst 26">
            <a:extLst>
              <a:ext uri="{FF2B5EF4-FFF2-40B4-BE49-F238E27FC236}">
                <a16:creationId xmlns:a16="http://schemas.microsoft.com/office/drawing/2014/main" id="{712F1EE6-52F3-41F4-9EB8-23B80FDB38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39D3BBB8-DB64-432B-A655-78F844F175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15" name="Tijdelijke aanduiding voor afbeelding 2">
            <a:extLst>
              <a:ext uri="{FF2B5EF4-FFF2-40B4-BE49-F238E27FC236}">
                <a16:creationId xmlns:a16="http://schemas.microsoft.com/office/drawing/2014/main" id="{E20E4FE1-3CA7-4633-8C12-EFE26A1852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406923" y="1657350"/>
            <a:ext cx="945356" cy="946149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20" name="Tijdelijke aanduiding voor afbeelding 2">
            <a:extLst>
              <a:ext uri="{FF2B5EF4-FFF2-40B4-BE49-F238E27FC236}">
                <a16:creationId xmlns:a16="http://schemas.microsoft.com/office/drawing/2014/main" id="{4DB2152A-5BA4-4A60-BEFA-BB2F20E6ED2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04023" y="1657350"/>
            <a:ext cx="945356" cy="946149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22" name="Tijdelijke aanduiding voor afbeelding 2">
            <a:extLst>
              <a:ext uri="{FF2B5EF4-FFF2-40B4-BE49-F238E27FC236}">
                <a16:creationId xmlns:a16="http://schemas.microsoft.com/office/drawing/2014/main" id="{23FDA64A-3A48-4910-8F67-936E76FCAA1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01123" y="1657350"/>
            <a:ext cx="945356" cy="946149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23" name="Tijdelijke aanduiding voor tekst 14">
            <a:extLst>
              <a:ext uri="{FF2B5EF4-FFF2-40B4-BE49-F238E27FC236}">
                <a16:creationId xmlns:a16="http://schemas.microsoft.com/office/drawing/2014/main" id="{FF4CB879-9A9D-4DDD-9165-3AC6E12373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1" y="2797824"/>
            <a:ext cx="2032000" cy="1645589"/>
          </a:xfrm>
        </p:spPr>
        <p:txBody>
          <a:bodyPr anchor="t" anchorCtr="0"/>
          <a:lstStyle>
            <a:lvl1pPr algn="ctr">
              <a:defRPr sz="1100">
                <a:solidFill>
                  <a:schemeClr val="bg1"/>
                </a:solidFill>
              </a:defRPr>
            </a:lvl1pPr>
            <a:lvl2pPr algn="ctr"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</p:txBody>
      </p:sp>
      <p:sp>
        <p:nvSpPr>
          <p:cNvPr id="24" name="Tijdelijke aanduiding voor tekst 14">
            <a:extLst>
              <a:ext uri="{FF2B5EF4-FFF2-40B4-BE49-F238E27FC236}">
                <a16:creationId xmlns:a16="http://schemas.microsoft.com/office/drawing/2014/main" id="{76172B70-2B21-472B-9AA3-8338F7E102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60701" y="2797824"/>
            <a:ext cx="2032000" cy="1645589"/>
          </a:xfrm>
        </p:spPr>
        <p:txBody>
          <a:bodyPr anchor="t" anchorCtr="0"/>
          <a:lstStyle>
            <a:lvl1pPr algn="ctr">
              <a:defRPr sz="1100">
                <a:solidFill>
                  <a:schemeClr val="bg1"/>
                </a:solidFill>
              </a:defRPr>
            </a:lvl1pPr>
            <a:lvl2pPr algn="ctr"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</p:txBody>
      </p:sp>
      <p:sp>
        <p:nvSpPr>
          <p:cNvPr id="25" name="Tijdelijke aanduiding voor tekst 14">
            <a:extLst>
              <a:ext uri="{FF2B5EF4-FFF2-40B4-BE49-F238E27FC236}">
                <a16:creationId xmlns:a16="http://schemas.microsoft.com/office/drawing/2014/main" id="{DF053D26-ABEE-4CC1-B09B-42C967017B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57801" y="2797824"/>
            <a:ext cx="2032000" cy="1645589"/>
          </a:xfrm>
        </p:spPr>
        <p:txBody>
          <a:bodyPr anchor="t" anchorCtr="0"/>
          <a:lstStyle>
            <a:lvl1pPr algn="ctr">
              <a:defRPr sz="1100">
                <a:solidFill>
                  <a:schemeClr val="bg1"/>
                </a:solidFill>
              </a:defRPr>
            </a:lvl1pPr>
            <a:lvl2pPr algn="ctr"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D7699902-590A-4473-A80D-1118BD5A64F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766989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1044" userDrawn="1">
          <p15:clr>
            <a:srgbClr val="FBAE40"/>
          </p15:clr>
        </p15:guide>
        <p15:guide id="6" orient="horz" pos="279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turquoise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9124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A56376C-8546-4CB9-B196-D3BCEEA9C91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15844" y="211610"/>
            <a:ext cx="8719200" cy="4723410"/>
          </a:xfrm>
          <a:custGeom>
            <a:avLst/>
            <a:gdLst>
              <a:gd name="T0" fmla="*/ 40 w 7332"/>
              <a:gd name="T1" fmla="*/ 0 h 3960"/>
              <a:gd name="T2" fmla="*/ 0 w 7332"/>
              <a:gd name="T3" fmla="*/ 40 h 3960"/>
              <a:gd name="T4" fmla="*/ 0 w 7332"/>
              <a:gd name="T5" fmla="*/ 3920 h 3960"/>
              <a:gd name="T6" fmla="*/ 40 w 7332"/>
              <a:gd name="T7" fmla="*/ 3960 h 3960"/>
              <a:gd name="T8" fmla="*/ 7292 w 7332"/>
              <a:gd name="T9" fmla="*/ 3960 h 3960"/>
              <a:gd name="T10" fmla="*/ 7332 w 7332"/>
              <a:gd name="T11" fmla="*/ 3920 h 3960"/>
              <a:gd name="T12" fmla="*/ 7332 w 7332"/>
              <a:gd name="T13" fmla="*/ 40 h 3960"/>
              <a:gd name="T14" fmla="*/ 7292 w 7332"/>
              <a:gd name="T15" fmla="*/ 0 h 3960"/>
              <a:gd name="T16" fmla="*/ 40 w 7332"/>
              <a:gd name="T17" fmla="*/ 0 h 3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32" h="3960">
                <a:moveTo>
                  <a:pt x="40" y="0"/>
                </a:moveTo>
                <a:cubicBezTo>
                  <a:pt x="40" y="0"/>
                  <a:pt x="0" y="0"/>
                  <a:pt x="0" y="40"/>
                </a:cubicBezTo>
                <a:cubicBezTo>
                  <a:pt x="0" y="3920"/>
                  <a:pt x="0" y="3920"/>
                  <a:pt x="0" y="3920"/>
                </a:cubicBezTo>
                <a:cubicBezTo>
                  <a:pt x="0" y="3920"/>
                  <a:pt x="0" y="3960"/>
                  <a:pt x="40" y="3960"/>
                </a:cubicBezTo>
                <a:cubicBezTo>
                  <a:pt x="7292" y="3960"/>
                  <a:pt x="7292" y="3960"/>
                  <a:pt x="7292" y="3960"/>
                </a:cubicBezTo>
                <a:cubicBezTo>
                  <a:pt x="7292" y="3960"/>
                  <a:pt x="7332" y="3960"/>
                  <a:pt x="7332" y="3920"/>
                </a:cubicBezTo>
                <a:cubicBezTo>
                  <a:pt x="7332" y="40"/>
                  <a:pt x="7332" y="40"/>
                  <a:pt x="7332" y="40"/>
                </a:cubicBezTo>
                <a:cubicBezTo>
                  <a:pt x="7332" y="40"/>
                  <a:pt x="7332" y="0"/>
                  <a:pt x="7292" y="0"/>
                </a:cubicBezTo>
                <a:lnTo>
                  <a:pt x="40" y="0"/>
                </a:lnTo>
                <a:close/>
              </a:path>
            </a:pathLst>
          </a:custGeom>
          <a:solidFill>
            <a:srgbClr val="008F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789746"/>
            <a:ext cx="7453312" cy="2908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7" name="Tijdelijke aanduiding voor tekst 26">
            <a:extLst>
              <a:ext uri="{FF2B5EF4-FFF2-40B4-BE49-F238E27FC236}">
                <a16:creationId xmlns:a16="http://schemas.microsoft.com/office/drawing/2014/main" id="{D55FC9EF-F2A7-4241-95AC-7741C2E357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90306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9ADE765E-0E2D-4789-9266-AD9B8991BF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6" name="Tijdelijke aanduiding voor tekst 26">
            <a:extLst>
              <a:ext uri="{FF2B5EF4-FFF2-40B4-BE49-F238E27FC236}">
                <a16:creationId xmlns:a16="http://schemas.microsoft.com/office/drawing/2014/main" id="{CE71D82A-0F0C-463B-A49D-229CA0A7A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490306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014F5019-EFF2-4A4F-B83A-DBFB9CE3B54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57475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paars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3534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A56376C-8546-4CB9-B196-D3BCEEA9C91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15844" y="211610"/>
            <a:ext cx="8719200" cy="4723410"/>
          </a:xfrm>
          <a:custGeom>
            <a:avLst/>
            <a:gdLst>
              <a:gd name="T0" fmla="*/ 40 w 7332"/>
              <a:gd name="T1" fmla="*/ 0 h 3960"/>
              <a:gd name="T2" fmla="*/ 0 w 7332"/>
              <a:gd name="T3" fmla="*/ 40 h 3960"/>
              <a:gd name="T4" fmla="*/ 0 w 7332"/>
              <a:gd name="T5" fmla="*/ 3920 h 3960"/>
              <a:gd name="T6" fmla="*/ 40 w 7332"/>
              <a:gd name="T7" fmla="*/ 3960 h 3960"/>
              <a:gd name="T8" fmla="*/ 7292 w 7332"/>
              <a:gd name="T9" fmla="*/ 3960 h 3960"/>
              <a:gd name="T10" fmla="*/ 7332 w 7332"/>
              <a:gd name="T11" fmla="*/ 3920 h 3960"/>
              <a:gd name="T12" fmla="*/ 7332 w 7332"/>
              <a:gd name="T13" fmla="*/ 40 h 3960"/>
              <a:gd name="T14" fmla="*/ 7292 w 7332"/>
              <a:gd name="T15" fmla="*/ 0 h 3960"/>
              <a:gd name="T16" fmla="*/ 40 w 7332"/>
              <a:gd name="T17" fmla="*/ 0 h 3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32" h="3960">
                <a:moveTo>
                  <a:pt x="40" y="0"/>
                </a:moveTo>
                <a:cubicBezTo>
                  <a:pt x="40" y="0"/>
                  <a:pt x="0" y="0"/>
                  <a:pt x="0" y="40"/>
                </a:cubicBezTo>
                <a:cubicBezTo>
                  <a:pt x="0" y="3920"/>
                  <a:pt x="0" y="3920"/>
                  <a:pt x="0" y="3920"/>
                </a:cubicBezTo>
                <a:cubicBezTo>
                  <a:pt x="0" y="3920"/>
                  <a:pt x="0" y="3960"/>
                  <a:pt x="40" y="3960"/>
                </a:cubicBezTo>
                <a:cubicBezTo>
                  <a:pt x="7292" y="3960"/>
                  <a:pt x="7292" y="3960"/>
                  <a:pt x="7292" y="3960"/>
                </a:cubicBezTo>
                <a:cubicBezTo>
                  <a:pt x="7292" y="3960"/>
                  <a:pt x="7332" y="3960"/>
                  <a:pt x="7332" y="3920"/>
                </a:cubicBezTo>
                <a:cubicBezTo>
                  <a:pt x="7332" y="40"/>
                  <a:pt x="7332" y="40"/>
                  <a:pt x="7332" y="40"/>
                </a:cubicBezTo>
                <a:cubicBezTo>
                  <a:pt x="7332" y="40"/>
                  <a:pt x="7332" y="0"/>
                  <a:pt x="7292" y="0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9ADE765E-0E2D-4789-9266-AD9B8991BF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617076"/>
            <a:ext cx="7453312" cy="2908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ED8CBB60-F0B8-4575-A3B7-90CC779A71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617076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835E68C3-22DF-40C0-BC53-80BBC26EDA4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187692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groen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640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A56376C-8546-4CB9-B196-D3BCEEA9C91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15844" y="211610"/>
            <a:ext cx="8719200" cy="4723410"/>
          </a:xfrm>
          <a:custGeom>
            <a:avLst/>
            <a:gdLst>
              <a:gd name="T0" fmla="*/ 40 w 7332"/>
              <a:gd name="T1" fmla="*/ 0 h 3960"/>
              <a:gd name="T2" fmla="*/ 0 w 7332"/>
              <a:gd name="T3" fmla="*/ 40 h 3960"/>
              <a:gd name="T4" fmla="*/ 0 w 7332"/>
              <a:gd name="T5" fmla="*/ 3920 h 3960"/>
              <a:gd name="T6" fmla="*/ 40 w 7332"/>
              <a:gd name="T7" fmla="*/ 3960 h 3960"/>
              <a:gd name="T8" fmla="*/ 7292 w 7332"/>
              <a:gd name="T9" fmla="*/ 3960 h 3960"/>
              <a:gd name="T10" fmla="*/ 7332 w 7332"/>
              <a:gd name="T11" fmla="*/ 3920 h 3960"/>
              <a:gd name="T12" fmla="*/ 7332 w 7332"/>
              <a:gd name="T13" fmla="*/ 40 h 3960"/>
              <a:gd name="T14" fmla="*/ 7292 w 7332"/>
              <a:gd name="T15" fmla="*/ 0 h 3960"/>
              <a:gd name="T16" fmla="*/ 40 w 7332"/>
              <a:gd name="T17" fmla="*/ 0 h 3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32" h="3960">
                <a:moveTo>
                  <a:pt x="40" y="0"/>
                </a:moveTo>
                <a:cubicBezTo>
                  <a:pt x="40" y="0"/>
                  <a:pt x="0" y="0"/>
                  <a:pt x="0" y="40"/>
                </a:cubicBezTo>
                <a:cubicBezTo>
                  <a:pt x="0" y="3920"/>
                  <a:pt x="0" y="3920"/>
                  <a:pt x="0" y="3920"/>
                </a:cubicBezTo>
                <a:cubicBezTo>
                  <a:pt x="0" y="3920"/>
                  <a:pt x="0" y="3960"/>
                  <a:pt x="40" y="3960"/>
                </a:cubicBezTo>
                <a:cubicBezTo>
                  <a:pt x="7292" y="3960"/>
                  <a:pt x="7292" y="3960"/>
                  <a:pt x="7292" y="3960"/>
                </a:cubicBezTo>
                <a:cubicBezTo>
                  <a:pt x="7292" y="3960"/>
                  <a:pt x="7332" y="3960"/>
                  <a:pt x="7332" y="3920"/>
                </a:cubicBezTo>
                <a:cubicBezTo>
                  <a:pt x="7332" y="40"/>
                  <a:pt x="7332" y="40"/>
                  <a:pt x="7332" y="40"/>
                </a:cubicBezTo>
                <a:cubicBezTo>
                  <a:pt x="7332" y="40"/>
                  <a:pt x="7332" y="0"/>
                  <a:pt x="7292" y="0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9ADE765E-0E2D-4789-9266-AD9B8991BF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617076"/>
            <a:ext cx="7453312" cy="2908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ED8CBB60-F0B8-4575-A3B7-90CC779A71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617076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7706A6E3-4A17-4535-A21A-11BE430420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928687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oranje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309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A56376C-8546-4CB9-B196-D3BCEEA9C91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15844" y="211610"/>
            <a:ext cx="8719200" cy="4723410"/>
          </a:xfrm>
          <a:custGeom>
            <a:avLst/>
            <a:gdLst>
              <a:gd name="T0" fmla="*/ 40 w 7332"/>
              <a:gd name="T1" fmla="*/ 0 h 3960"/>
              <a:gd name="T2" fmla="*/ 0 w 7332"/>
              <a:gd name="T3" fmla="*/ 40 h 3960"/>
              <a:gd name="T4" fmla="*/ 0 w 7332"/>
              <a:gd name="T5" fmla="*/ 3920 h 3960"/>
              <a:gd name="T6" fmla="*/ 40 w 7332"/>
              <a:gd name="T7" fmla="*/ 3960 h 3960"/>
              <a:gd name="T8" fmla="*/ 7292 w 7332"/>
              <a:gd name="T9" fmla="*/ 3960 h 3960"/>
              <a:gd name="T10" fmla="*/ 7332 w 7332"/>
              <a:gd name="T11" fmla="*/ 3920 h 3960"/>
              <a:gd name="T12" fmla="*/ 7332 w 7332"/>
              <a:gd name="T13" fmla="*/ 40 h 3960"/>
              <a:gd name="T14" fmla="*/ 7292 w 7332"/>
              <a:gd name="T15" fmla="*/ 0 h 3960"/>
              <a:gd name="T16" fmla="*/ 40 w 7332"/>
              <a:gd name="T17" fmla="*/ 0 h 3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32" h="3960">
                <a:moveTo>
                  <a:pt x="40" y="0"/>
                </a:moveTo>
                <a:cubicBezTo>
                  <a:pt x="40" y="0"/>
                  <a:pt x="0" y="0"/>
                  <a:pt x="0" y="40"/>
                </a:cubicBezTo>
                <a:cubicBezTo>
                  <a:pt x="0" y="3920"/>
                  <a:pt x="0" y="3920"/>
                  <a:pt x="0" y="3920"/>
                </a:cubicBezTo>
                <a:cubicBezTo>
                  <a:pt x="0" y="3920"/>
                  <a:pt x="0" y="3960"/>
                  <a:pt x="40" y="3960"/>
                </a:cubicBezTo>
                <a:cubicBezTo>
                  <a:pt x="7292" y="3960"/>
                  <a:pt x="7292" y="3960"/>
                  <a:pt x="7292" y="3960"/>
                </a:cubicBezTo>
                <a:cubicBezTo>
                  <a:pt x="7292" y="3960"/>
                  <a:pt x="7332" y="3960"/>
                  <a:pt x="7332" y="3920"/>
                </a:cubicBezTo>
                <a:cubicBezTo>
                  <a:pt x="7332" y="40"/>
                  <a:pt x="7332" y="40"/>
                  <a:pt x="7332" y="40"/>
                </a:cubicBezTo>
                <a:cubicBezTo>
                  <a:pt x="7332" y="40"/>
                  <a:pt x="7332" y="0"/>
                  <a:pt x="7292" y="0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1F4AB0AB-B884-48D1-981B-7AAB958A2E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772" y="4000555"/>
            <a:ext cx="1156080" cy="710987"/>
          </a:xfrm>
          <a:prstGeom prst="rect">
            <a:avLst/>
          </a:prstGeom>
        </p:spPr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789746"/>
            <a:ext cx="7453312" cy="2908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7" name="Tijdelijke aanduiding voor tekst 26">
            <a:extLst>
              <a:ext uri="{FF2B5EF4-FFF2-40B4-BE49-F238E27FC236}">
                <a16:creationId xmlns:a16="http://schemas.microsoft.com/office/drawing/2014/main" id="{D55FC9EF-F2A7-4241-95AC-7741C2E357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90306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9ADE765E-0E2D-4789-9266-AD9B8991BF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6" name="Tijdelijke aanduiding voor tekst 26">
            <a:extLst>
              <a:ext uri="{FF2B5EF4-FFF2-40B4-BE49-F238E27FC236}">
                <a16:creationId xmlns:a16="http://schemas.microsoft.com/office/drawing/2014/main" id="{CE71D82A-0F0C-463B-A49D-229CA0A7A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490306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090B8D1E-46CD-4433-94D6-BD65DF29CD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209692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objecten -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D341851-55C9-4856-AA07-25C6E1B26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825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0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el 19">
            <a:extLst>
              <a:ext uri="{FF2B5EF4-FFF2-40B4-BE49-F238E27FC236}">
                <a16:creationId xmlns:a16="http://schemas.microsoft.com/office/drawing/2014/main" id="{AB46F2A9-FB4B-438D-8636-9AEF8971C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2" name="Tijdelijke aanduiding voor tekst 26">
            <a:extLst>
              <a:ext uri="{FF2B5EF4-FFF2-40B4-BE49-F238E27FC236}">
                <a16:creationId xmlns:a16="http://schemas.microsoft.com/office/drawing/2014/main" id="{094BF244-646D-4CAD-A9E9-7464C6DEB0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33" name="Tijdelijke aanduiding voor tekst 26">
            <a:extLst>
              <a:ext uri="{FF2B5EF4-FFF2-40B4-BE49-F238E27FC236}">
                <a16:creationId xmlns:a16="http://schemas.microsoft.com/office/drawing/2014/main" id="{71E032AF-8BBE-4C11-AFC6-D848E8652D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39C59A6-B9B1-43D2-9A98-2F1E706BE7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3600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35000"/>
              </a:lnSpc>
              <a:buNone/>
              <a:defRPr sz="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0FC6B1D-054E-4335-A842-142135B55949}"/>
              </a:ext>
            </a:extLst>
          </p:cNvPr>
          <p:cNvSpPr txBox="1">
            <a:spLocks/>
          </p:cNvSpPr>
          <p:nvPr userDrawn="1"/>
        </p:nvSpPr>
        <p:spPr>
          <a:xfrm>
            <a:off x="4679458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Tekst</a:t>
            </a:r>
            <a:endParaRPr lang="en-US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92B19D3-4005-4098-A6BB-AEF97072B81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63599" y="1349375"/>
            <a:ext cx="3636000" cy="275780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5875257-E114-464D-A4DA-F9EE01659829}"/>
              </a:ext>
            </a:extLst>
          </p:cNvPr>
          <p:cNvSpPr txBox="1">
            <a:spLocks/>
          </p:cNvSpPr>
          <p:nvPr userDrawn="1"/>
        </p:nvSpPr>
        <p:spPr>
          <a:xfrm>
            <a:off x="863600" y="4190683"/>
            <a:ext cx="7453313" cy="173037"/>
          </a:xfrm>
          <a:prstGeom prst="roundRect">
            <a:avLst>
              <a:gd name="adj" fmla="val 21771"/>
            </a:avLst>
          </a:prstGeom>
          <a:solidFill>
            <a:schemeClr val="accent3"/>
          </a:solidFill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4" name="Tijdelijke aanduiding voor inhoud 3">
            <a:extLst>
              <a:ext uri="{FF2B5EF4-FFF2-40B4-BE49-F238E27FC236}">
                <a16:creationId xmlns:a16="http://schemas.microsoft.com/office/drawing/2014/main" id="{F9BA089E-4D82-4991-9D3D-A1C624C9B4B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80913" y="1349375"/>
            <a:ext cx="3636000" cy="275780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F9AAA07A-D695-4F6B-B9CA-88B9582C1AEE}"/>
              </a:ext>
            </a:extLst>
          </p:cNvPr>
          <p:cNvCxnSpPr>
            <a:cxnSpLocks/>
          </p:cNvCxnSpPr>
          <p:nvPr userDrawn="1"/>
        </p:nvCxnSpPr>
        <p:spPr>
          <a:xfrm flipH="1">
            <a:off x="4589529" y="1058863"/>
            <a:ext cx="1" cy="30861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D4293122-C1DC-4A26-9407-A96D66337F7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20" y="4432513"/>
            <a:ext cx="1156080" cy="710987"/>
          </a:xfrm>
          <a:prstGeom prst="rect">
            <a:avLst/>
          </a:prstGeom>
        </p:spPr>
      </p:pic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DF60F01C-A80D-4751-889A-ACCB9ACB04C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755045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pos="272">
          <p15:clr>
            <a:srgbClr val="FBAE40"/>
          </p15:clr>
        </p15:guide>
        <p15:guide id="3" pos="544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5239">
          <p15:clr>
            <a:srgbClr val="FBAE40"/>
          </p15:clr>
        </p15:guide>
        <p15:guide id="6" orient="horz" pos="2777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objecten - pa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D341851-55C9-4856-AA07-25C6E1B26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9011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3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D341851-55C9-4856-AA07-25C6E1B26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el 19">
            <a:extLst>
              <a:ext uri="{FF2B5EF4-FFF2-40B4-BE49-F238E27FC236}">
                <a16:creationId xmlns:a16="http://schemas.microsoft.com/office/drawing/2014/main" id="{AB46F2A9-FB4B-438D-8636-9AEF8971C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2" name="Tijdelijke aanduiding voor tekst 26">
            <a:extLst>
              <a:ext uri="{FF2B5EF4-FFF2-40B4-BE49-F238E27FC236}">
                <a16:creationId xmlns:a16="http://schemas.microsoft.com/office/drawing/2014/main" id="{094BF244-646D-4CAD-A9E9-7464C6DEB0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33" name="Tijdelijke aanduiding voor tekst 26">
            <a:extLst>
              <a:ext uri="{FF2B5EF4-FFF2-40B4-BE49-F238E27FC236}">
                <a16:creationId xmlns:a16="http://schemas.microsoft.com/office/drawing/2014/main" id="{71E032AF-8BBE-4C11-AFC6-D848E8652D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39C59A6-B9B1-43D2-9A98-2F1E706BE7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3600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35000"/>
              </a:lnSpc>
              <a:buNone/>
              <a:defRPr sz="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0FC6B1D-054E-4335-A842-142135B55949}"/>
              </a:ext>
            </a:extLst>
          </p:cNvPr>
          <p:cNvSpPr txBox="1">
            <a:spLocks/>
          </p:cNvSpPr>
          <p:nvPr userDrawn="1"/>
        </p:nvSpPr>
        <p:spPr>
          <a:xfrm>
            <a:off x="4679458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Tekst</a:t>
            </a:r>
            <a:endParaRPr lang="en-US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92B19D3-4005-4098-A6BB-AEF97072B81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63599" y="1349375"/>
            <a:ext cx="3636000" cy="275780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5875257-E114-464D-A4DA-F9EE01659829}"/>
              </a:ext>
            </a:extLst>
          </p:cNvPr>
          <p:cNvSpPr txBox="1">
            <a:spLocks/>
          </p:cNvSpPr>
          <p:nvPr userDrawn="1"/>
        </p:nvSpPr>
        <p:spPr>
          <a:xfrm>
            <a:off x="863600" y="4190683"/>
            <a:ext cx="7453313" cy="173037"/>
          </a:xfrm>
          <a:prstGeom prst="roundRect">
            <a:avLst>
              <a:gd name="adj" fmla="val 21771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4" name="Tijdelijke aanduiding voor inhoud 3">
            <a:extLst>
              <a:ext uri="{FF2B5EF4-FFF2-40B4-BE49-F238E27FC236}">
                <a16:creationId xmlns:a16="http://schemas.microsoft.com/office/drawing/2014/main" id="{F9BA089E-4D82-4991-9D3D-A1C624C9B4B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80913" y="1349375"/>
            <a:ext cx="3636000" cy="275780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F9AAA07A-D695-4F6B-B9CA-88B9582C1AEE}"/>
              </a:ext>
            </a:extLst>
          </p:cNvPr>
          <p:cNvCxnSpPr>
            <a:cxnSpLocks/>
          </p:cNvCxnSpPr>
          <p:nvPr userDrawn="1"/>
        </p:nvCxnSpPr>
        <p:spPr>
          <a:xfrm flipH="1">
            <a:off x="4589529" y="1058863"/>
            <a:ext cx="1" cy="30861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02D9A1FF-AC9E-4306-A4F2-038A3230342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20" y="4432513"/>
            <a:ext cx="1156080" cy="710987"/>
          </a:xfrm>
          <a:prstGeom prst="rect">
            <a:avLst/>
          </a:prstGeom>
        </p:spPr>
      </p:pic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8DB8F09F-E2B9-45CB-82AF-995718EEB5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536056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pos="272">
          <p15:clr>
            <a:srgbClr val="FBAE40"/>
          </p15:clr>
        </p15:guide>
        <p15:guide id="3" pos="544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5239">
          <p15:clr>
            <a:srgbClr val="FBAE40"/>
          </p15:clr>
        </p15:guide>
        <p15:guide id="6" orient="horz" pos="2777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D341851-55C9-4856-AA07-25C6E1B26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480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7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D341851-55C9-4856-AA07-25C6E1B26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el 19">
            <a:extLst>
              <a:ext uri="{FF2B5EF4-FFF2-40B4-BE49-F238E27FC236}">
                <a16:creationId xmlns:a16="http://schemas.microsoft.com/office/drawing/2014/main" id="{AB46F2A9-FB4B-438D-8636-9AEF8971C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2" name="Tijdelijke aanduiding voor tekst 26">
            <a:extLst>
              <a:ext uri="{FF2B5EF4-FFF2-40B4-BE49-F238E27FC236}">
                <a16:creationId xmlns:a16="http://schemas.microsoft.com/office/drawing/2014/main" id="{094BF244-646D-4CAD-A9E9-7464C6DEB0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33" name="Tijdelijke aanduiding voor tekst 26">
            <a:extLst>
              <a:ext uri="{FF2B5EF4-FFF2-40B4-BE49-F238E27FC236}">
                <a16:creationId xmlns:a16="http://schemas.microsoft.com/office/drawing/2014/main" id="{71E032AF-8BBE-4C11-AFC6-D848E8652D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39C59A6-B9B1-43D2-9A98-2F1E706BE7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3600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35000"/>
              </a:lnSpc>
              <a:buNone/>
              <a:defRPr sz="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0FC6B1D-054E-4335-A842-142135B55949}"/>
              </a:ext>
            </a:extLst>
          </p:cNvPr>
          <p:cNvSpPr txBox="1">
            <a:spLocks/>
          </p:cNvSpPr>
          <p:nvPr userDrawn="1"/>
        </p:nvSpPr>
        <p:spPr>
          <a:xfrm>
            <a:off x="4679458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Tekst</a:t>
            </a:r>
            <a:endParaRPr lang="en-US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92B19D3-4005-4098-A6BB-AEF97072B81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63599" y="1349374"/>
            <a:ext cx="3636000" cy="114271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5875257-E114-464D-A4DA-F9EE01659829}"/>
              </a:ext>
            </a:extLst>
          </p:cNvPr>
          <p:cNvSpPr txBox="1">
            <a:spLocks/>
          </p:cNvSpPr>
          <p:nvPr userDrawn="1"/>
        </p:nvSpPr>
        <p:spPr>
          <a:xfrm>
            <a:off x="863600" y="4190683"/>
            <a:ext cx="7453313" cy="173037"/>
          </a:xfrm>
          <a:prstGeom prst="roundRect">
            <a:avLst>
              <a:gd name="adj" fmla="val 21771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4" name="Tijdelijke aanduiding voor inhoud 3">
            <a:extLst>
              <a:ext uri="{FF2B5EF4-FFF2-40B4-BE49-F238E27FC236}">
                <a16:creationId xmlns:a16="http://schemas.microsoft.com/office/drawing/2014/main" id="{F9BA089E-4D82-4991-9D3D-A1C624C9B4B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80913" y="1349375"/>
            <a:ext cx="3636000" cy="275780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F9AAA07A-D695-4F6B-B9CA-88B9582C1AEE}"/>
              </a:ext>
            </a:extLst>
          </p:cNvPr>
          <p:cNvCxnSpPr>
            <a:cxnSpLocks/>
          </p:cNvCxnSpPr>
          <p:nvPr userDrawn="1"/>
        </p:nvCxnSpPr>
        <p:spPr>
          <a:xfrm flipH="1">
            <a:off x="4589529" y="1058863"/>
            <a:ext cx="1" cy="30861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ubtitle 2">
            <a:extLst>
              <a:ext uri="{FF2B5EF4-FFF2-40B4-BE49-F238E27FC236}">
                <a16:creationId xmlns:a16="http://schemas.microsoft.com/office/drawing/2014/main" id="{5853F6D0-790B-49C9-A7BA-9B2EEE447AB4}"/>
              </a:ext>
            </a:extLst>
          </p:cNvPr>
          <p:cNvSpPr txBox="1">
            <a:spLocks/>
          </p:cNvSpPr>
          <p:nvPr userDrawn="1"/>
        </p:nvSpPr>
        <p:spPr>
          <a:xfrm>
            <a:off x="863600" y="267395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Tekst</a:t>
            </a:r>
            <a:endParaRPr lang="en-US" dirty="0"/>
          </a:p>
        </p:txBody>
      </p:sp>
      <p:sp>
        <p:nvSpPr>
          <p:cNvPr id="16" name="Tijdelijke aanduiding voor inhoud 3">
            <a:extLst>
              <a:ext uri="{FF2B5EF4-FFF2-40B4-BE49-F238E27FC236}">
                <a16:creationId xmlns:a16="http://schemas.microsoft.com/office/drawing/2014/main" id="{1C52BA56-79ED-4105-8069-362A4554AA8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63599" y="2964464"/>
            <a:ext cx="3636000" cy="114271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7B1D45F5-4AD9-4843-8536-F03284BC287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20" y="4432513"/>
            <a:ext cx="1156080" cy="710987"/>
          </a:xfrm>
          <a:prstGeom prst="rect">
            <a:avLst/>
          </a:prstGeom>
        </p:spPr>
      </p:pic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FC36F9FC-4C7E-41C2-A077-6C3255158C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3053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pos="272">
          <p15:clr>
            <a:srgbClr val="FBAE40"/>
          </p15:clr>
        </p15:guide>
        <p15:guide id="3" pos="544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5239">
          <p15:clr>
            <a:srgbClr val="FBAE40"/>
          </p15:clr>
        </p15:guide>
        <p15:guide id="6" orient="horz" pos="277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sopgave vers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B21246-8029-4D27-ABA3-FC7D22A8DF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04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B21246-8029-4D27-ABA3-FC7D22A8D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AD9CE747-9EB7-48D0-B446-7DAACF2DBF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D5613FC6-4EB5-47AA-B5C3-15D1564490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11800" y="314325"/>
            <a:ext cx="3632200" cy="4524375"/>
          </a:xfrm>
          <a:prstGeom prst="rect">
            <a:avLst/>
          </a:prstGeom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E391A31-32E7-4137-AE26-A0B0274E6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6550" y="2071687"/>
            <a:ext cx="4686300" cy="2628900"/>
          </a:xfrm>
        </p:spPr>
        <p:txBody>
          <a:bodyPr/>
          <a:lstStyle>
            <a:lvl1pPr marL="182563" indent="-182563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4486275" algn="r"/>
              </a:tabLst>
              <a:defRPr sz="1200"/>
            </a:lvl1pPr>
            <a:lvl2pPr>
              <a:defRPr sz="1100"/>
            </a:lvl2pPr>
            <a:lvl3pPr>
              <a:defRPr sz="1000"/>
            </a:lvl3pPr>
            <a:lvl4pPr>
              <a:defRPr sz="800"/>
            </a:lvl4pPr>
            <a:lvl5pPr>
              <a:defRPr sz="700"/>
            </a:lvl5pPr>
          </a:lstStyle>
          <a:p>
            <a:pPr lvl="0"/>
            <a:r>
              <a:rPr lang="nl-NL" dirty="0"/>
              <a:t>Inhoudsopgav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6D78475-2ECB-48A2-91AA-D923D293E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898525"/>
            <a:ext cx="2733675" cy="704850"/>
          </a:xfrm>
          <a:prstGeom prst="roundRect">
            <a:avLst>
              <a:gd name="adj" fmla="val 9009"/>
            </a:avLst>
          </a:prstGeom>
          <a:solidFill>
            <a:schemeClr val="accent4">
              <a:alpha val="93000"/>
            </a:schemeClr>
          </a:solidFill>
        </p:spPr>
        <p:txBody>
          <a:bodyPr anchor="ctr" anchorCtr="0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</p:spTree>
    <p:extLst>
      <p:ext uri="{BB962C8B-B14F-4D97-AF65-F5344CB8AC3E}">
        <p14:creationId xmlns:p14="http://schemas.microsoft.com/office/powerpoint/2010/main" val="4699712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124B7D-5DA6-4A3C-8A4F-822317CB3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66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97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el 19">
            <a:extLst>
              <a:ext uri="{FF2B5EF4-FFF2-40B4-BE49-F238E27FC236}">
                <a16:creationId xmlns:a16="http://schemas.microsoft.com/office/drawing/2014/main" id="{AB46F2A9-FB4B-438D-8636-9AEF8971C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A64CE48-4904-4D5A-8AF1-C1101F1882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20" y="4432513"/>
            <a:ext cx="1156080" cy="710987"/>
          </a:xfrm>
          <a:prstGeom prst="rect">
            <a:avLst/>
          </a:prstGeom>
        </p:spPr>
      </p:pic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36DBDEA3-8CC9-48BE-AA05-6A26C893AB2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8" name="Tijdelijke aanduiding voor tekst 26">
            <a:extLst>
              <a:ext uri="{FF2B5EF4-FFF2-40B4-BE49-F238E27FC236}">
                <a16:creationId xmlns:a16="http://schemas.microsoft.com/office/drawing/2014/main" id="{CA6B93E1-B144-422A-80C3-0E2B262777A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584863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5933168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pos="544" userDrawn="1">
          <p15:clr>
            <a:srgbClr val="FBAE40"/>
          </p15:clr>
        </p15:guide>
        <p15:guide id="4" orient="horz" pos="3003" userDrawn="1">
          <p15:clr>
            <a:srgbClr val="FBAE40"/>
          </p15:clr>
        </p15:guide>
        <p15:guide id="5" pos="5239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3BBC5B1-2797-48A1-B0C8-5ECEEECAD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519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3BBC5B1-2797-48A1-B0C8-5ECEEECAD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 hidden="1">
            <a:extLst>
              <a:ext uri="{FF2B5EF4-FFF2-40B4-BE49-F238E27FC236}">
                <a16:creationId xmlns:a16="http://schemas.microsoft.com/office/drawing/2014/main" id="{E3A1C8B6-70B2-404B-8945-F19BC08DAD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B87E2C2A-8DC2-48F8-A9B0-60AD5568FA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3605" y="1069145"/>
            <a:ext cx="8656790" cy="31472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66978" y="526460"/>
            <a:ext cx="3909600" cy="1227600"/>
          </a:xfrm>
          <a:prstGeom prst="roundRect">
            <a:avLst>
              <a:gd name="adj" fmla="val 4253"/>
            </a:avLst>
          </a:prstGeom>
          <a:solidFill>
            <a:schemeClr val="accent5"/>
          </a:solidFill>
        </p:spPr>
        <p:txBody>
          <a:bodyPr wrap="square" tIns="72000" rIns="0" bIns="72000" anchor="ctr" anchorCtr="0">
            <a:normAutofit/>
          </a:bodyPr>
          <a:lstStyle>
            <a:lvl1pPr algn="ctr">
              <a:lnSpc>
                <a:spcPct val="95000"/>
              </a:lnSpc>
              <a:defRPr sz="21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Dank voor uw aandacht</a:t>
            </a:r>
            <a:endParaRPr lang="en-US" dirty="0"/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DA1F41F7-BCE1-4909-965F-89E64CE04A4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44" y="4220583"/>
            <a:ext cx="1156080" cy="710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899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3BBC5B1-2797-48A1-B0C8-5ECEEECAD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08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3BBC5B1-2797-48A1-B0C8-5ECEEECAD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 hidden="1">
            <a:extLst>
              <a:ext uri="{FF2B5EF4-FFF2-40B4-BE49-F238E27FC236}">
                <a16:creationId xmlns:a16="http://schemas.microsoft.com/office/drawing/2014/main" id="{E3A1C8B6-70B2-404B-8945-F19BC08DAD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9F23C44-95C5-4072-BFF8-BEB06EA7A0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254" y="497052"/>
            <a:ext cx="6535222" cy="3919749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50579C65-2155-4F73-AA76-8AD4BF44D2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2278" y="1669460"/>
            <a:ext cx="3909600" cy="1227600"/>
          </a:xfrm>
          <a:prstGeom prst="roundRect">
            <a:avLst>
              <a:gd name="adj" fmla="val 4253"/>
            </a:avLst>
          </a:prstGeom>
          <a:solidFill>
            <a:schemeClr val="accent4"/>
          </a:solidFill>
        </p:spPr>
        <p:txBody>
          <a:bodyPr wrap="square" lIns="72000" rIns="72000" anchor="ctr" anchorCtr="0">
            <a:normAutofit/>
          </a:bodyPr>
          <a:lstStyle>
            <a:lvl1pPr algn="ctr">
              <a:lnSpc>
                <a:spcPct val="95000"/>
              </a:lnSpc>
              <a:defRPr sz="21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Dank voor uw aandacht</a:t>
            </a:r>
            <a:endParaRPr lang="en-US" dirty="0"/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DA1F41F7-BCE1-4909-965F-89E64CE04A4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44" y="4220583"/>
            <a:ext cx="1156080" cy="710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3284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itleg sjablo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124B7D-5DA6-4A3C-8A4F-822317CB3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782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124B7D-5DA6-4A3C-8A4F-822317CB3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8A291EAA-F6DA-4CC6-A0B3-CF6F17297E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C12F13DD-C0B1-4356-8F68-31108F9E07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3600" y="1751089"/>
            <a:ext cx="1270800" cy="2815186"/>
          </a:xfrm>
          <a:prstGeom prst="rect">
            <a:avLst/>
          </a:prstGeom>
        </p:spPr>
      </p:pic>
      <p:pic>
        <p:nvPicPr>
          <p:cNvPr id="20" name="Afbeelding 19">
            <a:extLst>
              <a:ext uri="{FF2B5EF4-FFF2-40B4-BE49-F238E27FC236}">
                <a16:creationId xmlns:a16="http://schemas.microsoft.com/office/drawing/2014/main" id="{C5F90A34-0A47-4D46-8F74-7FB547F7C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43247" y="2060578"/>
            <a:ext cx="1270800" cy="282616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B4392A93-21EB-4D45-AD59-B746B172402D}"/>
              </a:ext>
            </a:extLst>
          </p:cNvPr>
          <p:cNvSpPr txBox="1">
            <a:spLocks/>
          </p:cNvSpPr>
          <p:nvPr userDrawn="1"/>
        </p:nvSpPr>
        <p:spPr>
          <a:xfrm>
            <a:off x="863600" y="402201"/>
            <a:ext cx="7453313" cy="290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defTabSz="685800">
              <a:lnSpc>
                <a:spcPct val="90000"/>
              </a:lnSpc>
              <a:spcBef>
                <a:spcPct val="0"/>
              </a:spcBef>
              <a:buNone/>
              <a:defRPr sz="2100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dirty="0">
                <a:solidFill>
                  <a:schemeClr val="tx2"/>
                </a:solidFill>
              </a:rPr>
              <a:t>Dia-indelingen en paginanummer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39BC566-56ED-4571-809D-0FE5179421BC}"/>
              </a:ext>
            </a:extLst>
          </p:cNvPr>
          <p:cNvSpPr txBox="1">
            <a:spLocks/>
          </p:cNvSpPr>
          <p:nvPr userDrawn="1"/>
        </p:nvSpPr>
        <p:spPr>
          <a:xfrm>
            <a:off x="863600" y="1058863"/>
            <a:ext cx="4104640" cy="3767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9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Dia-indelingen</a:t>
            </a:r>
            <a:endParaRPr lang="nl-NL" sz="800" noProof="0" dirty="0">
              <a:solidFill>
                <a:schemeClr val="tx2"/>
              </a:solidFill>
              <a:latin typeface="+mn-lt"/>
            </a:endParaRPr>
          </a:p>
          <a:p>
            <a:pPr marL="0" indent="0">
              <a:lnSpc>
                <a:spcPct val="105000"/>
              </a:lnSpc>
              <a:spcAft>
                <a:spcPts val="0"/>
              </a:spcAft>
              <a:buFontTx/>
              <a:buNone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Wanneer je een 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nieuwe presentatie 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start, staan hierin een aantal basis-dia’s. Deze zijn aan te vullen met diverse andere dia’s: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0342DBC-297C-47FB-8AAF-C3F4C05DBA65}"/>
              </a:ext>
            </a:extLst>
          </p:cNvPr>
          <p:cNvSpPr txBox="1">
            <a:spLocks/>
          </p:cNvSpPr>
          <p:nvPr userDrawn="1"/>
        </p:nvSpPr>
        <p:spPr>
          <a:xfrm>
            <a:off x="3535363" y="1569790"/>
            <a:ext cx="1920557" cy="30913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9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122" indent="-132122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Klik op het tabblad ‘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Start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’ op ‘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Nieuwe Dia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’ (onder het dia pictogram). Hierdoor worden de indelingsopties weergegeven. Scrol naar beneden om ze allemaal te zien. Er is een versie 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met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 en een versie 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zonder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 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logo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.</a:t>
            </a:r>
          </a:p>
          <a:p>
            <a:pPr marL="132122" indent="-132122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endParaRPr lang="nl-NL" sz="800" noProof="0" dirty="0">
              <a:solidFill>
                <a:schemeClr val="tx2"/>
              </a:solidFill>
              <a:latin typeface="+mn-lt"/>
            </a:endParaRPr>
          </a:p>
          <a:p>
            <a:pPr marL="132122" indent="-132122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Klik op een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 ‘Dia-indeling’ 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van je keuze om deze in te voegen. Je voegt dan een ‘lege’ dia in, waarop je je eigen inhoud kunt invullen</a:t>
            </a:r>
            <a:endParaRPr lang="nl-NL" sz="800" b="1" noProof="0" dirty="0">
              <a:solidFill>
                <a:schemeClr val="tx2"/>
              </a:solidFill>
              <a:latin typeface="+mn-lt"/>
            </a:endParaRPr>
          </a:p>
          <a:p>
            <a:pPr marL="132122" indent="-132122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endParaRPr lang="nl-NL" sz="800" noProof="0" dirty="0">
              <a:solidFill>
                <a:schemeClr val="tx2"/>
              </a:solidFill>
              <a:latin typeface="+mn-lt"/>
            </a:endParaRPr>
          </a:p>
          <a:p>
            <a:pPr marL="132122" indent="-132122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De indeling van een dia veranderen:</a:t>
            </a:r>
          </a:p>
          <a:p>
            <a:pPr marL="304763" lvl="1" indent="-171450">
              <a:lnSpc>
                <a:spcPct val="105000"/>
              </a:lnSpc>
              <a:spcAft>
                <a:spcPts val="0"/>
              </a:spcAft>
              <a:buSzPct val="100000"/>
              <a:buFont typeface="Lato" panose="020F0502020204030203" pitchFamily="34" charset="0"/>
              <a:buChar char="–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Klik op het tabblad ‘</a:t>
            </a:r>
            <a:r>
              <a:rPr lang="nl-NL" sz="800" b="0" noProof="0" dirty="0">
                <a:solidFill>
                  <a:schemeClr val="tx2"/>
                </a:solidFill>
                <a:latin typeface="+mn-lt"/>
              </a:rPr>
              <a:t>Start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’ op ‘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Indeling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’.</a:t>
            </a:r>
          </a:p>
          <a:p>
            <a:pPr marL="304763" lvl="1" indent="-171450">
              <a:lnSpc>
                <a:spcPct val="105000"/>
              </a:lnSpc>
              <a:spcAft>
                <a:spcPts val="0"/>
              </a:spcAft>
              <a:buSzPct val="100000"/>
              <a:buFont typeface="Lato" panose="020F0502020204030203" pitchFamily="34" charset="0"/>
              <a:buChar char="–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Kies een andere Indeling</a:t>
            </a:r>
            <a:r>
              <a:rPr lang="nl-NL" sz="800" baseline="0" noProof="0" dirty="0">
                <a:solidFill>
                  <a:schemeClr val="tx2"/>
                </a:solidFill>
                <a:latin typeface="+mn-lt"/>
              </a:rPr>
              <a:t> uit de lijst en deze wordt toegepast</a:t>
            </a:r>
            <a:endParaRPr lang="nl-NL" sz="800" noProof="0" dirty="0">
              <a:solidFill>
                <a:schemeClr val="tx2"/>
              </a:solidFill>
              <a:latin typeface="+mn-lt"/>
            </a:endParaRPr>
          </a:p>
          <a:p>
            <a:pPr marL="132122" indent="-132122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endParaRPr lang="nl-NL" sz="800" noProof="0" dirty="0">
              <a:solidFill>
                <a:schemeClr val="tx2"/>
              </a:solidFill>
              <a:latin typeface="+mn-lt"/>
            </a:endParaRPr>
          </a:p>
          <a:p>
            <a:pPr marL="132122" indent="-132122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De ‘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Opnieuw</a:t>
            </a:r>
            <a:r>
              <a:rPr lang="nl-NL" sz="800" b="1" baseline="0" noProof="0" dirty="0">
                <a:solidFill>
                  <a:schemeClr val="tx2"/>
                </a:solidFill>
                <a:latin typeface="+mn-lt"/>
              </a:rPr>
              <a:t> instellen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’-knop past de huidige indeling opnieuw toe. </a:t>
            </a:r>
          </a:p>
        </p:txBody>
      </p:sp>
      <p:sp>
        <p:nvSpPr>
          <p:cNvPr id="10" name="Oval 1">
            <a:extLst>
              <a:ext uri="{FF2B5EF4-FFF2-40B4-BE49-F238E27FC236}">
                <a16:creationId xmlns:a16="http://schemas.microsoft.com/office/drawing/2014/main" id="{8777FE37-8376-45B6-959B-D69502A0DF27}"/>
              </a:ext>
            </a:extLst>
          </p:cNvPr>
          <p:cNvSpPr/>
          <p:nvPr userDrawn="1"/>
        </p:nvSpPr>
        <p:spPr>
          <a:xfrm>
            <a:off x="863600" y="1514108"/>
            <a:ext cx="199664" cy="197037"/>
          </a:xfrm>
          <a:prstGeom prst="ellipse">
            <a:avLst/>
          </a:prstGeom>
          <a:solidFill>
            <a:srgbClr val="003B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b="1" noProof="0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11" name="Oval 16">
            <a:extLst>
              <a:ext uri="{FF2B5EF4-FFF2-40B4-BE49-F238E27FC236}">
                <a16:creationId xmlns:a16="http://schemas.microsoft.com/office/drawing/2014/main" id="{1FB53D2B-7C9D-4E44-9292-880F49C96ED4}"/>
              </a:ext>
            </a:extLst>
          </p:cNvPr>
          <p:cNvSpPr/>
          <p:nvPr userDrawn="1"/>
        </p:nvSpPr>
        <p:spPr>
          <a:xfrm>
            <a:off x="1763660" y="3534689"/>
            <a:ext cx="199664" cy="197037"/>
          </a:xfrm>
          <a:prstGeom prst="ellipse">
            <a:avLst/>
          </a:prstGeom>
          <a:solidFill>
            <a:srgbClr val="003B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b="1" noProof="0" dirty="0">
                <a:solidFill>
                  <a:schemeClr val="bg1"/>
                </a:solidFill>
                <a:latin typeface="+mn-lt"/>
              </a:rPr>
              <a:t>2</a:t>
            </a:r>
          </a:p>
        </p:txBody>
      </p:sp>
      <p:sp>
        <p:nvSpPr>
          <p:cNvPr id="12" name="Oval 16">
            <a:extLst>
              <a:ext uri="{FF2B5EF4-FFF2-40B4-BE49-F238E27FC236}">
                <a16:creationId xmlns:a16="http://schemas.microsoft.com/office/drawing/2014/main" id="{532D1A7A-D8B8-4BD8-BA81-D94EDC52B699}"/>
              </a:ext>
            </a:extLst>
          </p:cNvPr>
          <p:cNvSpPr/>
          <p:nvPr userDrawn="1"/>
        </p:nvSpPr>
        <p:spPr>
          <a:xfrm>
            <a:off x="1509891" y="1746225"/>
            <a:ext cx="199664" cy="197037"/>
          </a:xfrm>
          <a:prstGeom prst="ellipse">
            <a:avLst/>
          </a:prstGeom>
          <a:solidFill>
            <a:srgbClr val="003B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b="1" noProof="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13" name="Oval 16">
            <a:extLst>
              <a:ext uri="{FF2B5EF4-FFF2-40B4-BE49-F238E27FC236}">
                <a16:creationId xmlns:a16="http://schemas.microsoft.com/office/drawing/2014/main" id="{53B0087E-DD49-46C5-BEA7-D6F564CDE862}"/>
              </a:ext>
            </a:extLst>
          </p:cNvPr>
          <p:cNvSpPr/>
          <p:nvPr userDrawn="1"/>
        </p:nvSpPr>
        <p:spPr>
          <a:xfrm>
            <a:off x="1723741" y="1843616"/>
            <a:ext cx="199664" cy="197037"/>
          </a:xfrm>
          <a:prstGeom prst="ellipse">
            <a:avLst/>
          </a:prstGeom>
          <a:solidFill>
            <a:srgbClr val="003B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b="1" noProof="0" dirty="0">
                <a:solidFill>
                  <a:schemeClr val="bg1"/>
                </a:solidFill>
                <a:latin typeface="+mn-lt"/>
              </a:rPr>
              <a:t>4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5C3DD4F-8C9A-45C1-A4BB-BB06E183402A}"/>
              </a:ext>
            </a:extLst>
          </p:cNvPr>
          <p:cNvSpPr txBox="1">
            <a:spLocks/>
          </p:cNvSpPr>
          <p:nvPr userDrawn="1"/>
        </p:nvSpPr>
        <p:spPr>
          <a:xfrm>
            <a:off x="5913901" y="1058863"/>
            <a:ext cx="2403012" cy="10231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9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5000"/>
              </a:lnSpc>
              <a:spcAft>
                <a:spcPts val="0"/>
              </a:spcAft>
              <a:buFontTx/>
              <a:buNone/>
            </a:pP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Paginanummers</a:t>
            </a:r>
          </a:p>
          <a:p>
            <a:pPr marL="0" indent="0">
              <a:lnSpc>
                <a:spcPct val="105000"/>
              </a:lnSpc>
              <a:spcAft>
                <a:spcPts val="0"/>
              </a:spcAft>
              <a:buFontTx/>
              <a:buNone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Je kunt er voor kiezen om de paginanummers aan of uit te zetten</a:t>
            </a:r>
          </a:p>
          <a:p>
            <a:pPr marL="0" indent="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None/>
            </a:pPr>
            <a:endParaRPr lang="nl-NL" sz="800" noProof="0" dirty="0">
              <a:solidFill>
                <a:schemeClr val="tx2"/>
              </a:solidFill>
              <a:latin typeface="+mn-lt"/>
            </a:endParaRPr>
          </a:p>
          <a:p>
            <a:pPr marL="133350" indent="-13335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Ga in het lint naar 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Invoegen</a:t>
            </a:r>
          </a:p>
          <a:p>
            <a:pPr marL="133350" indent="-13335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Klik op Koptekst en voettekst</a:t>
            </a:r>
          </a:p>
          <a:p>
            <a:pPr marL="133350" indent="-13335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Het volgende scherm verschijnt</a:t>
            </a:r>
          </a:p>
          <a:p>
            <a:pPr marL="133350" indent="-13335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nl-NL" sz="800" noProof="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5829324E-7C91-4399-ACD3-8FD8B38172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3902" y="2060916"/>
            <a:ext cx="2403012" cy="151651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86408E11-3398-4E5B-819C-ED51177A70A3}"/>
              </a:ext>
            </a:extLst>
          </p:cNvPr>
          <p:cNvSpPr txBox="1">
            <a:spLocks/>
          </p:cNvSpPr>
          <p:nvPr userDrawn="1"/>
        </p:nvSpPr>
        <p:spPr>
          <a:xfrm>
            <a:off x="5913901" y="3759860"/>
            <a:ext cx="2403012" cy="7645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9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3350" indent="-13335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Vink </a:t>
            </a:r>
            <a:r>
              <a:rPr lang="nl-NL" sz="800" b="1" noProof="0" dirty="0" err="1">
                <a:solidFill>
                  <a:schemeClr val="tx2"/>
                </a:solidFill>
                <a:latin typeface="+mn-lt"/>
              </a:rPr>
              <a:t>Dianummer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 aan</a:t>
            </a:r>
          </a:p>
          <a:p>
            <a:pPr marL="133350" indent="-13335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Klik op 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Overal toepassen</a:t>
            </a:r>
          </a:p>
          <a:p>
            <a:pPr marL="133350" indent="-13335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nl-NL" sz="800" noProof="0" dirty="0">
              <a:solidFill>
                <a:schemeClr val="tx2"/>
              </a:solidFill>
              <a:latin typeface="+mn-lt"/>
            </a:endParaRPr>
          </a:p>
          <a:p>
            <a:pPr marL="133350" indent="-133350">
              <a:lnSpc>
                <a:spcPct val="10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Titelslides, hoofdstukslides, inhoudsopgave slides en afsluiter slides krijgen nooit een paginanummer</a:t>
            </a:r>
          </a:p>
        </p:txBody>
      </p:sp>
    </p:spTree>
    <p:extLst>
      <p:ext uri="{BB962C8B-B14F-4D97-AF65-F5344CB8AC3E}">
        <p14:creationId xmlns:p14="http://schemas.microsoft.com/office/powerpoint/2010/main" val="24366298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pos="272">
          <p15:clr>
            <a:srgbClr val="FBAE40"/>
          </p15:clr>
        </p15:guide>
        <p15:guide id="3" pos="544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5239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itleg sjablo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124B7D-5DA6-4A3C-8A4F-822317CB3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1515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124B7D-5DA6-4A3C-8A4F-822317CB3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8A291EAA-F6DA-4CC6-A0B3-CF6F17297E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031F68D8-4F05-486E-ACE8-FE07BB2C30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1310" y="3450068"/>
            <a:ext cx="1191600" cy="13486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B4392A93-21EB-4D45-AD59-B746B172402D}"/>
              </a:ext>
            </a:extLst>
          </p:cNvPr>
          <p:cNvSpPr txBox="1">
            <a:spLocks/>
          </p:cNvSpPr>
          <p:nvPr userDrawn="1"/>
        </p:nvSpPr>
        <p:spPr>
          <a:xfrm>
            <a:off x="863600" y="402201"/>
            <a:ext cx="7453313" cy="290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defTabSz="685800">
              <a:lnSpc>
                <a:spcPct val="90000"/>
              </a:lnSpc>
              <a:spcBef>
                <a:spcPct val="0"/>
              </a:spcBef>
              <a:buNone/>
              <a:defRPr sz="2100" b="1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dirty="0">
                <a:solidFill>
                  <a:schemeClr val="tx2"/>
                </a:solidFill>
              </a:rPr>
              <a:t>Kleuren en tekst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3C504181-5A7F-4750-8BDD-65A97C0C4E70}"/>
              </a:ext>
            </a:extLst>
          </p:cNvPr>
          <p:cNvSpPr txBox="1"/>
          <p:nvPr userDrawn="1"/>
        </p:nvSpPr>
        <p:spPr>
          <a:xfrm>
            <a:off x="863599" y="1058863"/>
            <a:ext cx="1168590" cy="1182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5000"/>
              </a:lnSpc>
              <a:spcAft>
                <a:spcPts val="0"/>
              </a:spcAft>
            </a:pPr>
            <a:r>
              <a:rPr lang="nl-NL" sz="800" b="1" dirty="0">
                <a:solidFill>
                  <a:schemeClr val="tx2"/>
                </a:solidFill>
              </a:rPr>
              <a:t>Themakleuren DELA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FFC38BE4-5BFB-495E-BCEB-8956ACDAEE7B}"/>
              </a:ext>
            </a:extLst>
          </p:cNvPr>
          <p:cNvSpPr txBox="1">
            <a:spLocks/>
          </p:cNvSpPr>
          <p:nvPr userDrawn="1"/>
        </p:nvSpPr>
        <p:spPr>
          <a:xfrm>
            <a:off x="2307260" y="3604729"/>
            <a:ext cx="962299" cy="11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8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None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DELA kleuren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5FBA0512-7D11-485F-8F05-05170C80C65B}"/>
              </a:ext>
            </a:extLst>
          </p:cNvPr>
          <p:cNvSpPr txBox="1">
            <a:spLocks/>
          </p:cNvSpPr>
          <p:nvPr userDrawn="1"/>
        </p:nvSpPr>
        <p:spPr>
          <a:xfrm>
            <a:off x="2307260" y="3841002"/>
            <a:ext cx="962299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8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None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Kleurtinten van de bovenste rij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0090202B-7138-4FA4-A61D-2AA34B73CA9B}"/>
              </a:ext>
            </a:extLst>
          </p:cNvPr>
          <p:cNvSpPr txBox="1">
            <a:spLocks/>
          </p:cNvSpPr>
          <p:nvPr userDrawn="1"/>
        </p:nvSpPr>
        <p:spPr>
          <a:xfrm>
            <a:off x="2307260" y="4394036"/>
            <a:ext cx="962299" cy="11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8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None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Niet gebruik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BC96132B-48C3-4CF7-859D-A2AC0A9E02EB}"/>
              </a:ext>
            </a:extLst>
          </p:cNvPr>
          <p:cNvSpPr txBox="1">
            <a:spLocks/>
          </p:cNvSpPr>
          <p:nvPr userDrawn="1"/>
        </p:nvSpPr>
        <p:spPr>
          <a:xfrm>
            <a:off x="2307260" y="4679211"/>
            <a:ext cx="962299" cy="11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8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None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DELA kleuren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EF720B1F-5986-419D-B608-4D9879365906}"/>
              </a:ext>
            </a:extLst>
          </p:cNvPr>
          <p:cNvSpPr txBox="1">
            <a:spLocks/>
          </p:cNvSpPr>
          <p:nvPr userDrawn="1"/>
        </p:nvSpPr>
        <p:spPr>
          <a:xfrm>
            <a:off x="863599" y="1285693"/>
            <a:ext cx="3375026" cy="17986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8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>
              <a:lnSpc>
                <a:spcPct val="105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nl-NL" sz="800" dirty="0">
                <a:latin typeface="Verdana" panose="020B0604030504040204" pitchFamily="34" charset="0"/>
                <a:ea typeface="Times New Roman" panose="02020603050405020304" pitchFamily="18" charset="0"/>
              </a:rPr>
              <a:t>Het DELA kleurenpalet bestaat uit </a:t>
            </a:r>
            <a:r>
              <a:rPr lang="nl-NL" sz="800" b="1" dirty="0">
                <a:latin typeface="Verdana" panose="020B0604030504040204" pitchFamily="34" charset="0"/>
                <a:ea typeface="Times New Roman" panose="02020603050405020304" pitchFamily="18" charset="0"/>
              </a:rPr>
              <a:t>10 kleuren</a:t>
            </a:r>
            <a:r>
              <a:rPr lang="nl-NL" sz="800" dirty="0">
                <a:latin typeface="Verdana" panose="020B0604030504040204" pitchFamily="34" charset="0"/>
                <a:ea typeface="Times New Roman" panose="02020603050405020304" pitchFamily="18" charset="0"/>
              </a:rPr>
              <a:t>. 5 lichte kleuren en 5 donkere kleuren. </a:t>
            </a:r>
          </a:p>
          <a:p>
            <a:pPr marL="144463" indent="-144463">
              <a:lnSpc>
                <a:spcPct val="105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endParaRPr lang="nl-NL" sz="800" dirty="0"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144463" indent="-144463">
              <a:lnSpc>
                <a:spcPct val="105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endParaRPr lang="nl-NL" sz="800" dirty="0"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144463" indent="-144463">
              <a:lnSpc>
                <a:spcPct val="105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endParaRPr lang="nl-NL" sz="800" dirty="0"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144463" indent="-144463">
              <a:lnSpc>
                <a:spcPct val="105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endParaRPr lang="nl-NL" sz="800" dirty="0"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144463" indent="-144463">
              <a:lnSpc>
                <a:spcPct val="105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endParaRPr lang="nl-NL" sz="800" dirty="0"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144463" indent="-144463">
              <a:lnSpc>
                <a:spcPct val="105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endParaRPr lang="nl-NL" sz="800" dirty="0"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144463" indent="-144463">
              <a:lnSpc>
                <a:spcPct val="105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endParaRPr lang="nl-NL" sz="800" dirty="0"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144463" indent="-144463">
              <a:lnSpc>
                <a:spcPct val="105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endParaRPr lang="nl-NL" sz="800" dirty="0"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144463" indent="-144463">
              <a:lnSpc>
                <a:spcPct val="105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endParaRPr lang="nl-NL" sz="800" dirty="0">
              <a:latin typeface="Verdana" panose="020B0604030504040204" pitchFamily="34" charset="0"/>
              <a:ea typeface="Times New Roman" panose="02020603050405020304" pitchFamily="18" charset="0"/>
            </a:endParaRPr>
          </a:p>
          <a:p>
            <a:pPr marL="144463" indent="-144463">
              <a:lnSpc>
                <a:spcPct val="105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nl-NL" sz="800" dirty="0">
                <a:latin typeface="Verdana" panose="020B0604030504040204" pitchFamily="34" charset="0"/>
                <a:ea typeface="Times New Roman" panose="02020603050405020304" pitchFamily="18" charset="0"/>
              </a:rPr>
              <a:t>D</a:t>
            </a:r>
            <a:r>
              <a:rPr lang="nl-NL" sz="800" noProof="0" dirty="0" err="1">
                <a:solidFill>
                  <a:schemeClr val="tx2"/>
                </a:solidFill>
                <a:latin typeface="+mn-lt"/>
              </a:rPr>
              <a:t>eze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 staan op rij 1 en op de rij Recente kleuren</a:t>
            </a:r>
          </a:p>
          <a:p>
            <a:pPr marL="144463" marR="0" lvl="0" indent="-144463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De kleuren op de rij Standaardkleuren mogen niet worden gebruikt, dit zijn standaard PowerPoint kleuren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C66262B2-B810-47AC-B5B9-41DCD41C5171}"/>
              </a:ext>
            </a:extLst>
          </p:cNvPr>
          <p:cNvSpPr txBox="1">
            <a:spLocks/>
          </p:cNvSpPr>
          <p:nvPr userDrawn="1"/>
        </p:nvSpPr>
        <p:spPr>
          <a:xfrm>
            <a:off x="1514418" y="3158039"/>
            <a:ext cx="1755142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8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None/>
            </a:pPr>
            <a:r>
              <a:rPr lang="nl-NL" sz="800" noProof="0" dirty="0">
                <a:solidFill>
                  <a:schemeClr val="tx2"/>
                </a:solidFill>
                <a:latin typeface="+mn-lt"/>
              </a:rPr>
              <a:t>Deze kleur mag </a:t>
            </a:r>
            <a:r>
              <a:rPr lang="nl-NL" sz="800" b="1" noProof="0" dirty="0">
                <a:solidFill>
                  <a:schemeClr val="tx2"/>
                </a:solidFill>
                <a:latin typeface="+mn-lt"/>
              </a:rPr>
              <a:t>alleen voor tekst</a:t>
            </a:r>
            <a:r>
              <a:rPr lang="nl-NL" sz="800" noProof="0" dirty="0">
                <a:solidFill>
                  <a:schemeClr val="tx2"/>
                </a:solidFill>
                <a:latin typeface="+mn-lt"/>
              </a:rPr>
              <a:t> worden gebruikt</a:t>
            </a:r>
          </a:p>
        </p:txBody>
      </p:sp>
      <p:sp>
        <p:nvSpPr>
          <p:cNvPr id="6" name="Vrije vorm: vorm 5">
            <a:extLst>
              <a:ext uri="{FF2B5EF4-FFF2-40B4-BE49-F238E27FC236}">
                <a16:creationId xmlns:a16="http://schemas.microsoft.com/office/drawing/2014/main" id="{2196C971-44DA-4317-BCBA-F1856B2F7E4F}"/>
              </a:ext>
            </a:extLst>
          </p:cNvPr>
          <p:cNvSpPr/>
          <p:nvPr userDrawn="1"/>
        </p:nvSpPr>
        <p:spPr>
          <a:xfrm>
            <a:off x="1429646" y="3283083"/>
            <a:ext cx="59531" cy="371475"/>
          </a:xfrm>
          <a:custGeom>
            <a:avLst/>
            <a:gdLst>
              <a:gd name="connsiteX0" fmla="*/ 59531 w 59531"/>
              <a:gd name="connsiteY0" fmla="*/ 0 h 392906"/>
              <a:gd name="connsiteX1" fmla="*/ 0 w 59531"/>
              <a:gd name="connsiteY1" fmla="*/ 0 h 392906"/>
              <a:gd name="connsiteX2" fmla="*/ 0 w 59531"/>
              <a:gd name="connsiteY2" fmla="*/ 392906 h 39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531" h="392906">
                <a:moveTo>
                  <a:pt x="59531" y="0"/>
                </a:moveTo>
                <a:lnTo>
                  <a:pt x="0" y="0"/>
                </a:lnTo>
                <a:lnTo>
                  <a:pt x="0" y="392906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endParaRPr lang="nl-NL"/>
          </a:p>
        </p:txBody>
      </p:sp>
      <p:sp>
        <p:nvSpPr>
          <p:cNvPr id="34" name="Rechthoek 33">
            <a:extLst>
              <a:ext uri="{FF2B5EF4-FFF2-40B4-BE49-F238E27FC236}">
                <a16:creationId xmlns:a16="http://schemas.microsoft.com/office/drawing/2014/main" id="{49D1AAE9-25D5-41CF-AF0C-942460C2A6AD}"/>
              </a:ext>
            </a:extLst>
          </p:cNvPr>
          <p:cNvSpPr/>
          <p:nvPr userDrawn="1"/>
        </p:nvSpPr>
        <p:spPr>
          <a:xfrm>
            <a:off x="4811712" y="2339980"/>
            <a:ext cx="1755141" cy="12816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>
              <a:lnSpc>
                <a:spcPct val="105000"/>
              </a:lnSpc>
              <a:spcAft>
                <a:spcPts val="0"/>
              </a:spcAft>
              <a:buFont typeface="Symbol" panose="05050102010706020507" pitchFamily="18" charset="2"/>
              <a:buNone/>
            </a:pPr>
            <a:r>
              <a:rPr lang="nl-NL" sz="800" dirty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Het eerste tekstniveau springt niet in en heeft geen </a:t>
            </a:r>
            <a:r>
              <a:rPr lang="nl-NL" sz="800" dirty="0" err="1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bullet</a:t>
            </a:r>
            <a:r>
              <a:rPr lang="nl-NL" sz="800" dirty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. </a:t>
            </a:r>
            <a:r>
              <a:rPr lang="nl-NL" sz="8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Niveau 2 t/m 5 springen wel in en hebben wel een </a:t>
            </a:r>
            <a:r>
              <a:rPr lang="nl-NL" sz="800" dirty="0" err="1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bullet</a:t>
            </a:r>
            <a:r>
              <a:rPr lang="nl-NL" sz="8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.</a:t>
            </a:r>
          </a:p>
          <a:p>
            <a:pPr marL="0" lvl="0" indent="0">
              <a:lnSpc>
                <a:spcPct val="105000"/>
              </a:lnSpc>
              <a:spcAft>
                <a:spcPts val="0"/>
              </a:spcAft>
              <a:buFont typeface="Symbol" panose="05050102010706020507" pitchFamily="18" charset="2"/>
              <a:buNone/>
            </a:pPr>
            <a:endParaRPr lang="nl-NL" sz="800" dirty="0">
              <a:solidFill>
                <a:schemeClr val="tx2"/>
              </a:solidFill>
              <a:latin typeface="+mn-lt"/>
              <a:ea typeface="Calibri" panose="020F0502020204030204" pitchFamily="34" charset="0"/>
            </a:endParaRPr>
          </a:p>
          <a:p>
            <a:pPr marL="0" lvl="0" indent="0">
              <a:lnSpc>
                <a:spcPct val="105000"/>
              </a:lnSpc>
              <a:spcAft>
                <a:spcPts val="0"/>
              </a:spcAft>
              <a:buFont typeface="Symbol" panose="05050102010706020507" pitchFamily="18" charset="2"/>
              <a:buNone/>
            </a:pPr>
            <a:r>
              <a:rPr lang="nl-NL" sz="8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Gebruik de pictogrammen </a:t>
            </a:r>
            <a:r>
              <a:rPr lang="nl-NL" sz="800" b="1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‘</a:t>
            </a:r>
            <a:r>
              <a:rPr lang="nl-NL" sz="800" b="1" dirty="0" err="1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Inspringing</a:t>
            </a:r>
            <a:r>
              <a:rPr lang="nl-NL" sz="800" b="1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 vergroten/ verkleinen’ </a:t>
            </a:r>
            <a:r>
              <a:rPr lang="nl-NL" sz="8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op tabblad Start om tussen de tekstniveaus te wisselen.</a:t>
            </a:r>
          </a:p>
        </p:txBody>
      </p:sp>
      <p:pic>
        <p:nvPicPr>
          <p:cNvPr id="36" name="Afbeelding 35">
            <a:extLst>
              <a:ext uri="{FF2B5EF4-FFF2-40B4-BE49-F238E27FC236}">
                <a16:creationId xmlns:a16="http://schemas.microsoft.com/office/drawing/2014/main" id="{2C288DA8-57CB-499D-8DD3-3E10F3A47A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8962"/>
          <a:stretch/>
        </p:blipFill>
        <p:spPr>
          <a:xfrm>
            <a:off x="4811713" y="1285693"/>
            <a:ext cx="1498600" cy="871538"/>
          </a:xfrm>
          <a:prstGeom prst="rect">
            <a:avLst/>
          </a:prstGeom>
          <a:solidFill>
            <a:schemeClr val="bg2"/>
          </a:solidFill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grpSp>
        <p:nvGrpSpPr>
          <p:cNvPr id="37" name="Groep 36">
            <a:extLst>
              <a:ext uri="{FF2B5EF4-FFF2-40B4-BE49-F238E27FC236}">
                <a16:creationId xmlns:a16="http://schemas.microsoft.com/office/drawing/2014/main" id="{0722D9EC-8C1F-4F13-B9D8-80EA62082C81}"/>
              </a:ext>
            </a:extLst>
          </p:cNvPr>
          <p:cNvGrpSpPr/>
          <p:nvPr userDrawn="1"/>
        </p:nvGrpSpPr>
        <p:grpSpPr>
          <a:xfrm>
            <a:off x="4808652" y="3708406"/>
            <a:ext cx="1245474" cy="795337"/>
            <a:chOff x="-1603261" y="3756031"/>
            <a:chExt cx="1245474" cy="795337"/>
          </a:xfrm>
        </p:grpSpPr>
        <p:pic>
          <p:nvPicPr>
            <p:cNvPr id="39" name="Afbeelding 38">
              <a:extLst>
                <a:ext uri="{FF2B5EF4-FFF2-40B4-BE49-F238E27FC236}">
                  <a16:creationId xmlns:a16="http://schemas.microsoft.com/office/drawing/2014/main" id="{AAAE184F-DFB1-458C-831F-A694B398EF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146"/>
            <a:stretch/>
          </p:blipFill>
          <p:spPr>
            <a:xfrm>
              <a:off x="-1603261" y="3935363"/>
              <a:ext cx="1007844" cy="616005"/>
            </a:xfrm>
            <a:prstGeom prst="rect">
              <a:avLst/>
            </a:prstGeo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40" name="Tekstvak 39">
              <a:extLst>
                <a:ext uri="{FF2B5EF4-FFF2-40B4-BE49-F238E27FC236}">
                  <a16:creationId xmlns:a16="http://schemas.microsoft.com/office/drawing/2014/main" id="{582C6940-5CA9-4B53-A8B6-F9CCCCCFFAE8}"/>
                </a:ext>
              </a:extLst>
            </p:cNvPr>
            <p:cNvSpPr txBox="1"/>
            <p:nvPr/>
          </p:nvSpPr>
          <p:spPr>
            <a:xfrm>
              <a:off x="-1257235" y="4415637"/>
              <a:ext cx="315792" cy="11823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5000"/>
                </a:lnSpc>
                <a:spcAft>
                  <a:spcPts val="0"/>
                </a:spcAft>
              </a:pPr>
              <a:r>
                <a:rPr lang="nl-NL" sz="800" dirty="0">
                  <a:solidFill>
                    <a:schemeClr val="tx2"/>
                  </a:solidFill>
                </a:rPr>
                <a:t>Alinea</a:t>
              </a:r>
            </a:p>
          </p:txBody>
        </p:sp>
        <p:pic>
          <p:nvPicPr>
            <p:cNvPr id="41" name="Graphic 40" descr="Vergrootglas">
              <a:extLst>
                <a:ext uri="{FF2B5EF4-FFF2-40B4-BE49-F238E27FC236}">
                  <a16:creationId xmlns:a16="http://schemas.microsoft.com/office/drawing/2014/main" id="{B737FD67-5915-469D-88B9-156485FD0F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-1148362" y="3756031"/>
              <a:ext cx="790575" cy="790575"/>
            </a:xfrm>
            <a:prstGeom prst="rect">
              <a:avLst/>
            </a:prstGeom>
          </p:spPr>
        </p:pic>
      </p:grpSp>
      <p:sp>
        <p:nvSpPr>
          <p:cNvPr id="42" name="Tekstvak 41">
            <a:extLst>
              <a:ext uri="{FF2B5EF4-FFF2-40B4-BE49-F238E27FC236}">
                <a16:creationId xmlns:a16="http://schemas.microsoft.com/office/drawing/2014/main" id="{B65840E3-6701-4ECE-845B-43EE6ECE2B83}"/>
              </a:ext>
            </a:extLst>
          </p:cNvPr>
          <p:cNvSpPr txBox="1"/>
          <p:nvPr userDrawn="1"/>
        </p:nvSpPr>
        <p:spPr>
          <a:xfrm>
            <a:off x="4808652" y="1058863"/>
            <a:ext cx="315792" cy="1182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05000"/>
              </a:lnSpc>
              <a:spcAft>
                <a:spcPts val="0"/>
              </a:spcAft>
            </a:pPr>
            <a:r>
              <a:rPr lang="nl-NL" sz="800" b="1" dirty="0">
                <a:solidFill>
                  <a:schemeClr val="tx2"/>
                </a:solidFill>
              </a:rPr>
              <a:t>Tekst</a:t>
            </a:r>
          </a:p>
        </p:txBody>
      </p:sp>
      <p:sp>
        <p:nvSpPr>
          <p:cNvPr id="43" name="Rechthoek 42">
            <a:extLst>
              <a:ext uri="{FF2B5EF4-FFF2-40B4-BE49-F238E27FC236}">
                <a16:creationId xmlns:a16="http://schemas.microsoft.com/office/drawing/2014/main" id="{96DAA3E3-E7E7-49CB-A02E-2E6E847F8774}"/>
              </a:ext>
            </a:extLst>
          </p:cNvPr>
          <p:cNvSpPr/>
          <p:nvPr userDrawn="1"/>
        </p:nvSpPr>
        <p:spPr>
          <a:xfrm>
            <a:off x="6821487" y="1290117"/>
            <a:ext cx="1495426" cy="12816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 indent="0">
              <a:lnSpc>
                <a:spcPct val="105000"/>
              </a:lnSpc>
              <a:spcAft>
                <a:spcPts val="0"/>
              </a:spcAft>
              <a:buFont typeface="Symbol" panose="05050102010706020507" pitchFamily="18" charset="2"/>
              <a:buNone/>
            </a:pPr>
            <a:r>
              <a:rPr lang="nl-NL" sz="800" b="1" dirty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Tussenkopjes</a:t>
            </a:r>
          </a:p>
          <a:p>
            <a:pPr marL="0" lvl="0" indent="0">
              <a:lnSpc>
                <a:spcPct val="105000"/>
              </a:lnSpc>
              <a:spcAft>
                <a:spcPts val="0"/>
              </a:spcAft>
              <a:buFont typeface="Symbol" panose="05050102010706020507" pitchFamily="18" charset="2"/>
              <a:buNone/>
            </a:pPr>
            <a:endParaRPr lang="nl-NL" sz="800" dirty="0">
              <a:solidFill>
                <a:schemeClr val="tx2"/>
              </a:solidFill>
              <a:latin typeface="+mn-lt"/>
              <a:ea typeface="Calibri" panose="020F0502020204030204" pitchFamily="34" charset="0"/>
            </a:endParaRPr>
          </a:p>
          <a:p>
            <a:pPr marL="0" lvl="0" indent="0">
              <a:lnSpc>
                <a:spcPct val="105000"/>
              </a:lnSpc>
              <a:spcAft>
                <a:spcPts val="0"/>
              </a:spcAft>
              <a:buFont typeface="Symbol" panose="05050102010706020507" pitchFamily="18" charset="2"/>
              <a:buNone/>
            </a:pPr>
            <a:r>
              <a:rPr lang="nl-NL" sz="8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Tussenkopjes maak je handmatig. Selecteer de tekst en maak deze vet. </a:t>
            </a:r>
          </a:p>
          <a:p>
            <a:pPr marL="0" lvl="0" indent="0">
              <a:lnSpc>
                <a:spcPct val="105000"/>
              </a:lnSpc>
              <a:spcAft>
                <a:spcPts val="0"/>
              </a:spcAft>
              <a:buFont typeface="Symbol" panose="05050102010706020507" pitchFamily="18" charset="2"/>
              <a:buNone/>
            </a:pPr>
            <a:endParaRPr lang="nl-NL" sz="800" dirty="0">
              <a:solidFill>
                <a:schemeClr val="tx2"/>
              </a:solidFill>
              <a:latin typeface="+mn-lt"/>
              <a:ea typeface="Calibri" panose="020F0502020204030204" pitchFamily="34" charset="0"/>
            </a:endParaRPr>
          </a:p>
          <a:p>
            <a:pPr marL="0" lvl="0" indent="0">
              <a:lnSpc>
                <a:spcPct val="105000"/>
              </a:lnSpc>
              <a:spcAft>
                <a:spcPts val="0"/>
              </a:spcAft>
              <a:buFont typeface="Symbol" panose="05050102010706020507" pitchFamily="18" charset="2"/>
              <a:buNone/>
            </a:pPr>
            <a:r>
              <a:rPr lang="nl-NL" sz="8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Je kunt het kopje desgewenst ook een kleur geven en/of wat groter maken.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300C0259-045A-40E1-B552-72B191D8E9E1}"/>
              </a:ext>
            </a:extLst>
          </p:cNvPr>
          <p:cNvSpPr/>
          <p:nvPr userDrawn="1"/>
        </p:nvSpPr>
        <p:spPr>
          <a:xfrm>
            <a:off x="1013264" y="1600004"/>
            <a:ext cx="575589" cy="41531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238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18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35</a:t>
            </a:r>
          </a:p>
        </p:txBody>
      </p:sp>
      <p:sp>
        <p:nvSpPr>
          <p:cNvPr id="44" name="Rechthoek 43">
            <a:extLst>
              <a:ext uri="{FF2B5EF4-FFF2-40B4-BE49-F238E27FC236}">
                <a16:creationId xmlns:a16="http://schemas.microsoft.com/office/drawing/2014/main" id="{DE69A2F1-9243-4979-91B5-52146ED2EA88}"/>
              </a:ext>
            </a:extLst>
          </p:cNvPr>
          <p:cNvSpPr/>
          <p:nvPr userDrawn="1"/>
        </p:nvSpPr>
        <p:spPr>
          <a:xfrm>
            <a:off x="1672642" y="1600004"/>
            <a:ext cx="575589" cy="4153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19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61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89</a:t>
            </a:r>
          </a:p>
        </p:txBody>
      </p:sp>
      <p:sp>
        <p:nvSpPr>
          <p:cNvPr id="45" name="Rechthoek 44">
            <a:extLst>
              <a:ext uri="{FF2B5EF4-FFF2-40B4-BE49-F238E27FC236}">
                <a16:creationId xmlns:a16="http://schemas.microsoft.com/office/drawing/2014/main" id="{F82765B0-BD03-4E92-B6C5-882F01FC2969}"/>
              </a:ext>
            </a:extLst>
          </p:cNvPr>
          <p:cNvSpPr/>
          <p:nvPr userDrawn="1"/>
        </p:nvSpPr>
        <p:spPr>
          <a:xfrm>
            <a:off x="2332019" y="1600004"/>
            <a:ext cx="575589" cy="4153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18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88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33</a:t>
            </a:r>
          </a:p>
        </p:txBody>
      </p:sp>
      <p:sp>
        <p:nvSpPr>
          <p:cNvPr id="46" name="Rechthoek 45">
            <a:extLst>
              <a:ext uri="{FF2B5EF4-FFF2-40B4-BE49-F238E27FC236}">
                <a16:creationId xmlns:a16="http://schemas.microsoft.com/office/drawing/2014/main" id="{1348C4C2-463B-4678-B658-9734D1170CC8}"/>
              </a:ext>
            </a:extLst>
          </p:cNvPr>
          <p:cNvSpPr/>
          <p:nvPr userDrawn="1"/>
        </p:nvSpPr>
        <p:spPr>
          <a:xfrm>
            <a:off x="2991397" y="1600004"/>
            <a:ext cx="575589" cy="4153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28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30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240</a:t>
            </a:r>
          </a:p>
        </p:txBody>
      </p:sp>
      <p:sp>
        <p:nvSpPr>
          <p:cNvPr id="47" name="Rechthoek 46">
            <a:extLst>
              <a:ext uri="{FF2B5EF4-FFF2-40B4-BE49-F238E27FC236}">
                <a16:creationId xmlns:a16="http://schemas.microsoft.com/office/drawing/2014/main" id="{1BDB8155-7F04-44C9-A319-D48C80879E4C}"/>
              </a:ext>
            </a:extLst>
          </p:cNvPr>
          <p:cNvSpPr/>
          <p:nvPr userDrawn="1"/>
        </p:nvSpPr>
        <p:spPr>
          <a:xfrm>
            <a:off x="3650775" y="1600004"/>
            <a:ext cx="575589" cy="415317"/>
          </a:xfrm>
          <a:prstGeom prst="rect">
            <a:avLst/>
          </a:prstGeom>
          <a:solidFill>
            <a:srgbClr val="FFD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255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208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68</a:t>
            </a:r>
          </a:p>
        </p:txBody>
      </p:sp>
      <p:sp>
        <p:nvSpPr>
          <p:cNvPr id="49" name="Rechthoek 48">
            <a:extLst>
              <a:ext uri="{FF2B5EF4-FFF2-40B4-BE49-F238E27FC236}">
                <a16:creationId xmlns:a16="http://schemas.microsoft.com/office/drawing/2014/main" id="{54141D83-678F-45B5-BA52-4F2073015C17}"/>
              </a:ext>
            </a:extLst>
          </p:cNvPr>
          <p:cNvSpPr/>
          <p:nvPr userDrawn="1"/>
        </p:nvSpPr>
        <p:spPr>
          <a:xfrm>
            <a:off x="1013264" y="2105437"/>
            <a:ext cx="575589" cy="415317"/>
          </a:xfrm>
          <a:prstGeom prst="rect">
            <a:avLst/>
          </a:prstGeom>
          <a:solidFill>
            <a:srgbClr val="8E4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/>
              <a:t>142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/>
              <a:t>72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/>
              <a:t>31</a:t>
            </a:r>
            <a:endParaRPr lang="nl-NL" sz="800" dirty="0"/>
          </a:p>
        </p:txBody>
      </p:sp>
      <p:sp>
        <p:nvSpPr>
          <p:cNvPr id="50" name="Rechthoek 49">
            <a:extLst>
              <a:ext uri="{FF2B5EF4-FFF2-40B4-BE49-F238E27FC236}">
                <a16:creationId xmlns:a16="http://schemas.microsoft.com/office/drawing/2014/main" id="{A8D7B1EF-6FAC-467F-BDD7-489096905E40}"/>
              </a:ext>
            </a:extLst>
          </p:cNvPr>
          <p:cNvSpPr/>
          <p:nvPr userDrawn="1"/>
        </p:nvSpPr>
        <p:spPr>
          <a:xfrm>
            <a:off x="1672642" y="2105437"/>
            <a:ext cx="575589" cy="415317"/>
          </a:xfrm>
          <a:prstGeom prst="rect">
            <a:avLst/>
          </a:prstGeom>
          <a:solidFill>
            <a:srgbClr val="490E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73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4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03</a:t>
            </a:r>
          </a:p>
        </p:txBody>
      </p:sp>
      <p:sp>
        <p:nvSpPr>
          <p:cNvPr id="51" name="Rechthoek 50">
            <a:extLst>
              <a:ext uri="{FF2B5EF4-FFF2-40B4-BE49-F238E27FC236}">
                <a16:creationId xmlns:a16="http://schemas.microsoft.com/office/drawing/2014/main" id="{54C524A4-7CB7-456A-97F3-B0B6B129F1B3}"/>
              </a:ext>
            </a:extLst>
          </p:cNvPr>
          <p:cNvSpPr/>
          <p:nvPr userDrawn="1"/>
        </p:nvSpPr>
        <p:spPr>
          <a:xfrm>
            <a:off x="2332019" y="2105437"/>
            <a:ext cx="575589" cy="415317"/>
          </a:xfrm>
          <a:prstGeom prst="rect">
            <a:avLst/>
          </a:prstGeom>
          <a:solidFill>
            <a:srgbClr val="007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0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21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52</a:t>
            </a:r>
          </a:p>
        </p:txBody>
      </p:sp>
      <p:sp>
        <p:nvSpPr>
          <p:cNvPr id="52" name="Rechthoek 51">
            <a:extLst>
              <a:ext uri="{FF2B5EF4-FFF2-40B4-BE49-F238E27FC236}">
                <a16:creationId xmlns:a16="http://schemas.microsoft.com/office/drawing/2014/main" id="{72074014-A916-4B21-B166-4D629DA8A80E}"/>
              </a:ext>
            </a:extLst>
          </p:cNvPr>
          <p:cNvSpPr/>
          <p:nvPr userDrawn="1"/>
        </p:nvSpPr>
        <p:spPr>
          <a:xfrm>
            <a:off x="2991397" y="2105437"/>
            <a:ext cx="575589" cy="415317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0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59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13</a:t>
            </a:r>
          </a:p>
        </p:txBody>
      </p:sp>
      <p:sp>
        <p:nvSpPr>
          <p:cNvPr id="53" name="Rechthoek 52">
            <a:extLst>
              <a:ext uri="{FF2B5EF4-FFF2-40B4-BE49-F238E27FC236}">
                <a16:creationId xmlns:a16="http://schemas.microsoft.com/office/drawing/2014/main" id="{13D4F59C-D3F3-4F0C-A106-B8EC34EF86C6}"/>
              </a:ext>
            </a:extLst>
          </p:cNvPr>
          <p:cNvSpPr/>
          <p:nvPr userDrawn="1"/>
        </p:nvSpPr>
        <p:spPr>
          <a:xfrm>
            <a:off x="3650775" y="2105437"/>
            <a:ext cx="575589" cy="41531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200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46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800" dirty="0"/>
              <a:t>17</a:t>
            </a:r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DE3F0E55-3034-45CA-9050-53767B15057C}"/>
              </a:ext>
            </a:extLst>
          </p:cNvPr>
          <p:cNvSpPr/>
          <p:nvPr userDrawn="1"/>
        </p:nvSpPr>
        <p:spPr>
          <a:xfrm>
            <a:off x="1490735" y="4683260"/>
            <a:ext cx="245269" cy="1095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endParaRPr lang="nl-NL" sz="1500" dirty="0"/>
          </a:p>
        </p:txBody>
      </p:sp>
    </p:spTree>
    <p:extLst>
      <p:ext uri="{BB962C8B-B14F-4D97-AF65-F5344CB8AC3E}">
        <p14:creationId xmlns:p14="http://schemas.microsoft.com/office/powerpoint/2010/main" val="30455524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pos="272">
          <p15:clr>
            <a:srgbClr val="FBAE40"/>
          </p15:clr>
        </p15:guide>
        <p15:guide id="3" pos="544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523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3BBC5B1-2797-48A1-B0C8-5ECEEECAD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3BBC5B1-2797-48A1-B0C8-5ECEEECAD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 hidden="1">
            <a:extLst>
              <a:ext uri="{FF2B5EF4-FFF2-40B4-BE49-F238E27FC236}">
                <a16:creationId xmlns:a16="http://schemas.microsoft.com/office/drawing/2014/main" id="{E3A1C8B6-70B2-404B-8945-F19BC08DAD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B87E2C2A-8DC2-48F8-A9B0-60AD5568FA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3605" y="1069145"/>
            <a:ext cx="8656790" cy="3147256"/>
          </a:xfrm>
          <a:prstGeom prst="rect">
            <a:avLst/>
          </a:prstGeom>
        </p:spPr>
      </p:pic>
      <p:sp>
        <p:nvSpPr>
          <p:cNvPr id="16" name="Tijdelijke aanduiding voor tekst 3">
            <a:extLst>
              <a:ext uri="{FF2B5EF4-FFF2-40B4-BE49-F238E27FC236}">
                <a16:creationId xmlns:a16="http://schemas.microsoft.com/office/drawing/2014/main" id="{FBBD0A47-8AB3-46F3-BB03-118198382B4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54000" y="4514441"/>
            <a:ext cx="6697072" cy="232243"/>
          </a:xfrm>
        </p:spPr>
        <p:txBody>
          <a:bodyPr wrap="square">
            <a:spAutoFit/>
          </a:bodyPr>
          <a:lstStyle>
            <a:lvl1pPr>
              <a:defRPr sz="135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89542F2E-A2FF-45DC-835C-2CC6DF8900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6978" y="526460"/>
            <a:ext cx="3909600" cy="1227600"/>
          </a:xfrm>
          <a:prstGeom prst="roundRect">
            <a:avLst>
              <a:gd name="adj" fmla="val 2473"/>
            </a:avLst>
          </a:prstGeom>
          <a:solidFill>
            <a:schemeClr val="accent5"/>
          </a:solidFill>
        </p:spPr>
        <p:txBody>
          <a:bodyPr vert="horz" wrap="square" lIns="72000" tIns="0" rIns="72000" bIns="0" rtlCol="0" anchor="ctr" anchorCtr="0">
            <a:noAutofit/>
          </a:bodyPr>
          <a:lstStyle>
            <a:lvl1pPr algn="ctr">
              <a:defRPr lang="nl-NL" dirty="0">
                <a:solidFill>
                  <a:schemeClr val="bg1"/>
                </a:solidFill>
              </a:defRPr>
            </a:lvl1pPr>
          </a:lstStyle>
          <a:p>
            <a:pPr marL="0" lvl="0" algn="ctr">
              <a:lnSpc>
                <a:spcPct val="95000"/>
              </a:lnSpc>
            </a:pPr>
            <a:r>
              <a:rPr lang="nl-NL" dirty="0"/>
              <a:t>Presentatietitel</a:t>
            </a:r>
          </a:p>
        </p:txBody>
      </p:sp>
      <p:sp>
        <p:nvSpPr>
          <p:cNvPr id="12" name="Ondertitel 11">
            <a:extLst>
              <a:ext uri="{FF2B5EF4-FFF2-40B4-BE49-F238E27FC236}">
                <a16:creationId xmlns:a16="http://schemas.microsoft.com/office/drawing/2014/main" id="{BA3F3467-72F2-4BA2-AE36-1BC1B03D96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4675" y="1611344"/>
            <a:ext cx="3034800" cy="449911"/>
          </a:xfrm>
          <a:custGeom>
            <a:avLst/>
            <a:gdLst>
              <a:gd name="connsiteX0" fmla="*/ 54219 w 3034800"/>
              <a:gd name="connsiteY0" fmla="*/ 0 h 449911"/>
              <a:gd name="connsiteX1" fmla="*/ 1455593 w 3034800"/>
              <a:gd name="connsiteY1" fmla="*/ 0 h 449911"/>
              <a:gd name="connsiteX2" fmla="*/ 1526910 w 3034800"/>
              <a:gd name="connsiteY2" fmla="*/ 118146 h 449911"/>
              <a:gd name="connsiteX3" fmla="*/ 1598226 w 3034800"/>
              <a:gd name="connsiteY3" fmla="*/ 0 h 449911"/>
              <a:gd name="connsiteX4" fmla="*/ 2980583 w 3034800"/>
              <a:gd name="connsiteY4" fmla="*/ 0 h 449911"/>
              <a:gd name="connsiteX5" fmla="*/ 3034070 w 3034800"/>
              <a:gd name="connsiteY5" fmla="*/ 53703 h 449911"/>
              <a:gd name="connsiteX6" fmla="*/ 3034070 w 3034800"/>
              <a:gd name="connsiteY6" fmla="*/ 96367 h 449911"/>
              <a:gd name="connsiteX7" fmla="*/ 3034070 w 3034800"/>
              <a:gd name="connsiteY7" fmla="*/ 130288 h 449911"/>
              <a:gd name="connsiteX8" fmla="*/ 3034800 w 3034800"/>
              <a:gd name="connsiteY8" fmla="*/ 131018 h 449911"/>
              <a:gd name="connsiteX9" fmla="*/ 3034800 w 3034800"/>
              <a:gd name="connsiteY9" fmla="*/ 394992 h 449911"/>
              <a:gd name="connsiteX10" fmla="*/ 3033817 w 3034800"/>
              <a:gd name="connsiteY10" fmla="*/ 395975 h 449911"/>
              <a:gd name="connsiteX11" fmla="*/ 3025713 w 3034800"/>
              <a:gd name="connsiteY11" fmla="*/ 426752 h 449911"/>
              <a:gd name="connsiteX12" fmla="*/ 2980583 w 3034800"/>
              <a:gd name="connsiteY12" fmla="*/ 449911 h 449911"/>
              <a:gd name="connsiteX13" fmla="*/ 54219 w 3034800"/>
              <a:gd name="connsiteY13" fmla="*/ 449911 h 449911"/>
              <a:gd name="connsiteX14" fmla="*/ 1567 w 3034800"/>
              <a:gd name="connsiteY14" fmla="*/ 403592 h 449911"/>
              <a:gd name="connsiteX15" fmla="*/ 808 w 3034800"/>
              <a:gd name="connsiteY15" fmla="*/ 395800 h 449911"/>
              <a:gd name="connsiteX16" fmla="*/ 0 w 3034800"/>
              <a:gd name="connsiteY16" fmla="*/ 394992 h 449911"/>
              <a:gd name="connsiteX17" fmla="*/ 0 w 3034800"/>
              <a:gd name="connsiteY17" fmla="*/ 131018 h 449911"/>
              <a:gd name="connsiteX18" fmla="*/ 731 w 3034800"/>
              <a:gd name="connsiteY18" fmla="*/ 130287 h 449911"/>
              <a:gd name="connsiteX19" fmla="*/ 731 w 3034800"/>
              <a:gd name="connsiteY19" fmla="*/ 113782 h 449911"/>
              <a:gd name="connsiteX20" fmla="*/ 731 w 3034800"/>
              <a:gd name="connsiteY20" fmla="*/ 53703 h 449911"/>
              <a:gd name="connsiteX21" fmla="*/ 54219 w 3034800"/>
              <a:gd name="connsiteY21" fmla="*/ 0 h 449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034800" h="449911">
                <a:moveTo>
                  <a:pt x="54219" y="0"/>
                </a:moveTo>
                <a:cubicBezTo>
                  <a:pt x="54219" y="0"/>
                  <a:pt x="54219" y="0"/>
                  <a:pt x="1455593" y="0"/>
                </a:cubicBezTo>
                <a:cubicBezTo>
                  <a:pt x="1455593" y="0"/>
                  <a:pt x="1455593" y="0"/>
                  <a:pt x="1526910" y="118146"/>
                </a:cubicBezTo>
                <a:cubicBezTo>
                  <a:pt x="1526910" y="118146"/>
                  <a:pt x="1526910" y="118146"/>
                  <a:pt x="1598226" y="0"/>
                </a:cubicBezTo>
                <a:cubicBezTo>
                  <a:pt x="1598226" y="0"/>
                  <a:pt x="1598226" y="0"/>
                  <a:pt x="2980583" y="0"/>
                </a:cubicBezTo>
                <a:cubicBezTo>
                  <a:pt x="3034070" y="0"/>
                  <a:pt x="3034070" y="53703"/>
                  <a:pt x="3034070" y="53703"/>
                </a:cubicBezTo>
                <a:cubicBezTo>
                  <a:pt x="3034070" y="53703"/>
                  <a:pt x="3034070" y="53703"/>
                  <a:pt x="3034070" y="96367"/>
                </a:cubicBezTo>
                <a:lnTo>
                  <a:pt x="3034070" y="130288"/>
                </a:lnTo>
                <a:lnTo>
                  <a:pt x="3034800" y="131018"/>
                </a:lnTo>
                <a:lnTo>
                  <a:pt x="3034800" y="394992"/>
                </a:lnTo>
                <a:lnTo>
                  <a:pt x="3033817" y="395975"/>
                </a:lnTo>
                <a:lnTo>
                  <a:pt x="3025713" y="426752"/>
                </a:lnTo>
                <a:cubicBezTo>
                  <a:pt x="3010669" y="449911"/>
                  <a:pt x="2980583" y="449911"/>
                  <a:pt x="2980583" y="449911"/>
                </a:cubicBezTo>
                <a:cubicBezTo>
                  <a:pt x="2980583" y="449911"/>
                  <a:pt x="2980583" y="449911"/>
                  <a:pt x="54219" y="449911"/>
                </a:cubicBezTo>
                <a:cubicBezTo>
                  <a:pt x="14103" y="449911"/>
                  <a:pt x="4074" y="419032"/>
                  <a:pt x="1567" y="403592"/>
                </a:cubicBezTo>
                <a:lnTo>
                  <a:pt x="808" y="395800"/>
                </a:lnTo>
                <a:lnTo>
                  <a:pt x="0" y="394992"/>
                </a:lnTo>
                <a:lnTo>
                  <a:pt x="0" y="131018"/>
                </a:lnTo>
                <a:lnTo>
                  <a:pt x="731" y="130287"/>
                </a:lnTo>
                <a:lnTo>
                  <a:pt x="731" y="113782"/>
                </a:lnTo>
                <a:cubicBezTo>
                  <a:pt x="731" y="95034"/>
                  <a:pt x="731" y="75035"/>
                  <a:pt x="731" y="53703"/>
                </a:cubicBezTo>
                <a:cubicBezTo>
                  <a:pt x="731" y="0"/>
                  <a:pt x="54219" y="0"/>
                  <a:pt x="54219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lIns="0" tIns="126000" rIns="0" bIns="72000" anchor="t" anchorCtr="0">
            <a:noAutofit/>
          </a:bodyPr>
          <a:lstStyle>
            <a:lvl1pPr marL="0" indent="0" algn="ctr">
              <a:lnSpc>
                <a:spcPct val="110000"/>
              </a:lnSpc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Plaats en da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59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3BBC5B1-2797-48A1-B0C8-5ECEEECAD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3BBC5B1-2797-48A1-B0C8-5ECEEECAD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 hidden="1">
            <a:extLst>
              <a:ext uri="{FF2B5EF4-FFF2-40B4-BE49-F238E27FC236}">
                <a16:creationId xmlns:a16="http://schemas.microsoft.com/office/drawing/2014/main" id="{E3A1C8B6-70B2-404B-8945-F19BC08DAD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88B5928-E12C-481E-A2FF-5466495EB9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254" y="520700"/>
            <a:ext cx="6769100" cy="3853180"/>
          </a:xfrm>
          <a:prstGeom prst="rect">
            <a:avLst/>
          </a:prstGeom>
        </p:spPr>
      </p:pic>
      <p:sp>
        <p:nvSpPr>
          <p:cNvPr id="18" name="Titel 1">
            <a:extLst>
              <a:ext uri="{FF2B5EF4-FFF2-40B4-BE49-F238E27FC236}">
                <a16:creationId xmlns:a16="http://schemas.microsoft.com/office/drawing/2014/main" id="{BFEC4366-3F12-485D-AEF4-8EB97F73B3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72278" y="1688510"/>
            <a:ext cx="3909600" cy="1227600"/>
          </a:xfrm>
          <a:prstGeom prst="roundRect">
            <a:avLst>
              <a:gd name="adj" fmla="val 2473"/>
            </a:avLst>
          </a:prstGeom>
          <a:solidFill>
            <a:schemeClr val="accent4"/>
          </a:solidFill>
        </p:spPr>
        <p:txBody>
          <a:bodyPr vert="horz" wrap="square" lIns="72000" tIns="0" rIns="72000" bIns="0" rtlCol="0" anchor="ctr" anchorCtr="0">
            <a:noAutofit/>
          </a:bodyPr>
          <a:lstStyle>
            <a:lvl1pPr algn="ctr">
              <a:defRPr lang="nl-NL" dirty="0">
                <a:solidFill>
                  <a:schemeClr val="bg1"/>
                </a:solidFill>
              </a:defRPr>
            </a:lvl1pPr>
          </a:lstStyle>
          <a:p>
            <a:pPr marL="0" lvl="0" algn="ctr">
              <a:lnSpc>
                <a:spcPct val="95000"/>
              </a:lnSpc>
            </a:pPr>
            <a:r>
              <a:rPr lang="nl-NL" dirty="0"/>
              <a:t>Presentatietitel</a:t>
            </a:r>
          </a:p>
        </p:txBody>
      </p:sp>
      <p:sp>
        <p:nvSpPr>
          <p:cNvPr id="16" name="Tijdelijke aanduiding voor tekst 3">
            <a:extLst>
              <a:ext uri="{FF2B5EF4-FFF2-40B4-BE49-F238E27FC236}">
                <a16:creationId xmlns:a16="http://schemas.microsoft.com/office/drawing/2014/main" id="{FBBD0A47-8AB3-46F3-BB03-118198382B47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25254" y="4514441"/>
            <a:ext cx="6530067" cy="232243"/>
          </a:xfrm>
        </p:spPr>
        <p:txBody>
          <a:bodyPr wrap="square">
            <a:spAutoFit/>
          </a:bodyPr>
          <a:lstStyle>
            <a:lvl1pPr>
              <a:defRPr sz="135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15" name="Ondertitel 14">
            <a:extLst>
              <a:ext uri="{FF2B5EF4-FFF2-40B4-BE49-F238E27FC236}">
                <a16:creationId xmlns:a16="http://schemas.microsoft.com/office/drawing/2014/main" id="{85930422-620B-4A01-8055-D8387839FE0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9975" y="2773394"/>
            <a:ext cx="3034800" cy="449911"/>
          </a:xfrm>
          <a:custGeom>
            <a:avLst/>
            <a:gdLst>
              <a:gd name="connsiteX0" fmla="*/ 54219 w 3034800"/>
              <a:gd name="connsiteY0" fmla="*/ 0 h 449911"/>
              <a:gd name="connsiteX1" fmla="*/ 1455593 w 3034800"/>
              <a:gd name="connsiteY1" fmla="*/ 0 h 449911"/>
              <a:gd name="connsiteX2" fmla="*/ 1526910 w 3034800"/>
              <a:gd name="connsiteY2" fmla="*/ 118146 h 449911"/>
              <a:gd name="connsiteX3" fmla="*/ 1598226 w 3034800"/>
              <a:gd name="connsiteY3" fmla="*/ 0 h 449911"/>
              <a:gd name="connsiteX4" fmla="*/ 2980583 w 3034800"/>
              <a:gd name="connsiteY4" fmla="*/ 0 h 449911"/>
              <a:gd name="connsiteX5" fmla="*/ 3034070 w 3034800"/>
              <a:gd name="connsiteY5" fmla="*/ 53703 h 449911"/>
              <a:gd name="connsiteX6" fmla="*/ 3034070 w 3034800"/>
              <a:gd name="connsiteY6" fmla="*/ 96367 h 449911"/>
              <a:gd name="connsiteX7" fmla="*/ 3034070 w 3034800"/>
              <a:gd name="connsiteY7" fmla="*/ 130288 h 449911"/>
              <a:gd name="connsiteX8" fmla="*/ 3034800 w 3034800"/>
              <a:gd name="connsiteY8" fmla="*/ 131018 h 449911"/>
              <a:gd name="connsiteX9" fmla="*/ 3034800 w 3034800"/>
              <a:gd name="connsiteY9" fmla="*/ 394992 h 449911"/>
              <a:gd name="connsiteX10" fmla="*/ 3033817 w 3034800"/>
              <a:gd name="connsiteY10" fmla="*/ 395975 h 449911"/>
              <a:gd name="connsiteX11" fmla="*/ 3025713 w 3034800"/>
              <a:gd name="connsiteY11" fmla="*/ 426752 h 449911"/>
              <a:gd name="connsiteX12" fmla="*/ 2980583 w 3034800"/>
              <a:gd name="connsiteY12" fmla="*/ 449911 h 449911"/>
              <a:gd name="connsiteX13" fmla="*/ 54219 w 3034800"/>
              <a:gd name="connsiteY13" fmla="*/ 449911 h 449911"/>
              <a:gd name="connsiteX14" fmla="*/ 1567 w 3034800"/>
              <a:gd name="connsiteY14" fmla="*/ 403592 h 449911"/>
              <a:gd name="connsiteX15" fmla="*/ 808 w 3034800"/>
              <a:gd name="connsiteY15" fmla="*/ 395800 h 449911"/>
              <a:gd name="connsiteX16" fmla="*/ 0 w 3034800"/>
              <a:gd name="connsiteY16" fmla="*/ 394992 h 449911"/>
              <a:gd name="connsiteX17" fmla="*/ 0 w 3034800"/>
              <a:gd name="connsiteY17" fmla="*/ 131018 h 449911"/>
              <a:gd name="connsiteX18" fmla="*/ 731 w 3034800"/>
              <a:gd name="connsiteY18" fmla="*/ 130287 h 449911"/>
              <a:gd name="connsiteX19" fmla="*/ 731 w 3034800"/>
              <a:gd name="connsiteY19" fmla="*/ 113782 h 449911"/>
              <a:gd name="connsiteX20" fmla="*/ 731 w 3034800"/>
              <a:gd name="connsiteY20" fmla="*/ 53703 h 449911"/>
              <a:gd name="connsiteX21" fmla="*/ 54219 w 3034800"/>
              <a:gd name="connsiteY21" fmla="*/ 0 h 449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034800" h="449911">
                <a:moveTo>
                  <a:pt x="54219" y="0"/>
                </a:moveTo>
                <a:cubicBezTo>
                  <a:pt x="54219" y="0"/>
                  <a:pt x="54219" y="0"/>
                  <a:pt x="1455593" y="0"/>
                </a:cubicBezTo>
                <a:cubicBezTo>
                  <a:pt x="1455593" y="0"/>
                  <a:pt x="1455593" y="0"/>
                  <a:pt x="1526910" y="118146"/>
                </a:cubicBezTo>
                <a:cubicBezTo>
                  <a:pt x="1526910" y="118146"/>
                  <a:pt x="1526910" y="118146"/>
                  <a:pt x="1598226" y="0"/>
                </a:cubicBezTo>
                <a:cubicBezTo>
                  <a:pt x="1598226" y="0"/>
                  <a:pt x="1598226" y="0"/>
                  <a:pt x="2980583" y="0"/>
                </a:cubicBezTo>
                <a:cubicBezTo>
                  <a:pt x="3034070" y="0"/>
                  <a:pt x="3034070" y="53703"/>
                  <a:pt x="3034070" y="53703"/>
                </a:cubicBezTo>
                <a:cubicBezTo>
                  <a:pt x="3034070" y="53703"/>
                  <a:pt x="3034070" y="53703"/>
                  <a:pt x="3034070" y="96367"/>
                </a:cubicBezTo>
                <a:lnTo>
                  <a:pt x="3034070" y="130288"/>
                </a:lnTo>
                <a:lnTo>
                  <a:pt x="3034800" y="131018"/>
                </a:lnTo>
                <a:lnTo>
                  <a:pt x="3034800" y="394992"/>
                </a:lnTo>
                <a:lnTo>
                  <a:pt x="3033817" y="395975"/>
                </a:lnTo>
                <a:lnTo>
                  <a:pt x="3025713" y="426752"/>
                </a:lnTo>
                <a:cubicBezTo>
                  <a:pt x="3010669" y="449911"/>
                  <a:pt x="2980583" y="449911"/>
                  <a:pt x="2980583" y="449911"/>
                </a:cubicBezTo>
                <a:cubicBezTo>
                  <a:pt x="2980583" y="449911"/>
                  <a:pt x="2980583" y="449911"/>
                  <a:pt x="54219" y="449911"/>
                </a:cubicBezTo>
                <a:cubicBezTo>
                  <a:pt x="14103" y="449911"/>
                  <a:pt x="4074" y="419032"/>
                  <a:pt x="1567" y="403592"/>
                </a:cubicBezTo>
                <a:lnTo>
                  <a:pt x="808" y="395800"/>
                </a:lnTo>
                <a:lnTo>
                  <a:pt x="0" y="394992"/>
                </a:lnTo>
                <a:lnTo>
                  <a:pt x="0" y="131018"/>
                </a:lnTo>
                <a:lnTo>
                  <a:pt x="731" y="130287"/>
                </a:lnTo>
                <a:lnTo>
                  <a:pt x="731" y="113782"/>
                </a:lnTo>
                <a:cubicBezTo>
                  <a:pt x="731" y="95034"/>
                  <a:pt x="731" y="75035"/>
                  <a:pt x="731" y="53703"/>
                </a:cubicBezTo>
                <a:cubicBezTo>
                  <a:pt x="731" y="0"/>
                  <a:pt x="54219" y="0"/>
                  <a:pt x="54219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126000" rIns="0" bIns="72000" anchor="t" anchorCtr="0">
            <a:noAutofit/>
          </a:bodyPr>
          <a:lstStyle>
            <a:lvl1pPr marL="0" indent="0" algn="ctr">
              <a:lnSpc>
                <a:spcPct val="110000"/>
              </a:lnSpc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Plaats en da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68598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sopgave vers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B21246-8029-4D27-ABA3-FC7D22A8DF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B21246-8029-4D27-ABA3-FC7D22A8D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AD9CE747-9EB7-48D0-B446-7DAACF2DBF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D5613FC6-4EB5-47AA-B5C3-15D1564490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632200" cy="5143500"/>
          </a:xfrm>
          <a:prstGeom prst="rect">
            <a:avLst/>
          </a:prstGeom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E391A31-32E7-4137-AE26-A0B0274E6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62426" y="1566862"/>
            <a:ext cx="4686300" cy="2628900"/>
          </a:xfrm>
        </p:spPr>
        <p:txBody>
          <a:bodyPr/>
          <a:lstStyle>
            <a:lvl1pPr marL="182563" indent="-182563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4486275" algn="r"/>
              </a:tabLst>
              <a:defRPr sz="1200"/>
            </a:lvl1pPr>
            <a:lvl2pPr>
              <a:defRPr sz="1100"/>
            </a:lvl2pPr>
            <a:lvl3pPr>
              <a:defRPr sz="1000"/>
            </a:lvl3pPr>
            <a:lvl4pPr>
              <a:defRPr sz="800"/>
            </a:lvl4pPr>
            <a:lvl5pPr>
              <a:defRPr sz="700"/>
            </a:lvl5pPr>
          </a:lstStyle>
          <a:p>
            <a:pPr lvl="0"/>
            <a:r>
              <a:rPr lang="nl-NL" dirty="0"/>
              <a:t>Inhoudsopgav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6D78475-2ECB-48A2-91AA-D923D293E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850" y="898525"/>
            <a:ext cx="2733675" cy="704850"/>
          </a:xfrm>
          <a:prstGeom prst="roundRect">
            <a:avLst>
              <a:gd name="adj" fmla="val 9009"/>
            </a:avLst>
          </a:prstGeom>
          <a:solidFill>
            <a:schemeClr val="accent4">
              <a:alpha val="93000"/>
            </a:schemeClr>
          </a:solidFill>
        </p:spPr>
        <p:txBody>
          <a:bodyPr anchor="ctr" anchorCtr="0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</p:spTree>
    <p:extLst>
      <p:ext uri="{BB962C8B-B14F-4D97-AF65-F5344CB8AC3E}">
        <p14:creationId xmlns:p14="http://schemas.microsoft.com/office/powerpoint/2010/main" val="32812733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sopgave vers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B21246-8029-4D27-ABA3-FC7D22A8DF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B21246-8029-4D27-ABA3-FC7D22A8D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AD9CE747-9EB7-48D0-B446-7DAACF2DBF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D5613FC6-4EB5-47AA-B5C3-15D1564490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11800" y="314325"/>
            <a:ext cx="3632200" cy="4524375"/>
          </a:xfrm>
          <a:prstGeom prst="rect">
            <a:avLst/>
          </a:prstGeom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E391A31-32E7-4137-AE26-A0B0274E6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6550" y="2071687"/>
            <a:ext cx="4686300" cy="2628900"/>
          </a:xfrm>
        </p:spPr>
        <p:txBody>
          <a:bodyPr/>
          <a:lstStyle>
            <a:lvl1pPr marL="182563" indent="-182563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4486275" algn="r"/>
              </a:tabLst>
              <a:defRPr sz="1200"/>
            </a:lvl1pPr>
            <a:lvl2pPr>
              <a:defRPr sz="1100"/>
            </a:lvl2pPr>
            <a:lvl3pPr>
              <a:defRPr sz="1000"/>
            </a:lvl3pPr>
            <a:lvl4pPr>
              <a:defRPr sz="800"/>
            </a:lvl4pPr>
            <a:lvl5pPr>
              <a:defRPr sz="700"/>
            </a:lvl5pPr>
          </a:lstStyle>
          <a:p>
            <a:pPr lvl="0"/>
            <a:r>
              <a:rPr lang="nl-NL" dirty="0"/>
              <a:t>Inhoudsopgav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6D78475-2ECB-48A2-91AA-D923D293E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898525"/>
            <a:ext cx="2733675" cy="704850"/>
          </a:xfrm>
          <a:prstGeom prst="roundRect">
            <a:avLst>
              <a:gd name="adj" fmla="val 9009"/>
            </a:avLst>
          </a:prstGeom>
          <a:solidFill>
            <a:schemeClr val="accent4">
              <a:alpha val="93000"/>
            </a:schemeClr>
          </a:solidFill>
        </p:spPr>
        <p:txBody>
          <a:bodyPr anchor="ctr" anchorCtr="0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</p:spTree>
    <p:extLst>
      <p:ext uri="{BB962C8B-B14F-4D97-AF65-F5344CB8AC3E}">
        <p14:creationId xmlns:p14="http://schemas.microsoft.com/office/powerpoint/2010/main" val="5132449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sopgave vers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B21246-8029-4D27-ABA3-FC7D22A8DF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B21246-8029-4D27-ABA3-FC7D22A8D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AD9CE747-9EB7-48D0-B446-7DAACF2DBF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E391A31-32E7-4137-AE26-A0B0274E6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768" y="2071687"/>
            <a:ext cx="7745339" cy="2628900"/>
          </a:xfrm>
        </p:spPr>
        <p:txBody>
          <a:bodyPr/>
          <a:lstStyle>
            <a:lvl1pPr marL="182563" indent="-182563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7624763" algn="r"/>
              </a:tabLst>
              <a:defRPr sz="1200"/>
            </a:lvl1pPr>
            <a:lvl2pPr>
              <a:defRPr sz="1100"/>
            </a:lvl2pPr>
            <a:lvl3pPr>
              <a:defRPr sz="1000"/>
            </a:lvl3pPr>
            <a:lvl4pPr>
              <a:defRPr sz="800"/>
            </a:lvl4pPr>
            <a:lvl5pPr>
              <a:defRPr sz="700"/>
            </a:lvl5pPr>
          </a:lstStyle>
          <a:p>
            <a:pPr lvl="0"/>
            <a:r>
              <a:rPr lang="nl-NL" dirty="0"/>
              <a:t>Inhoudsopgav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6D78475-2ECB-48A2-91AA-D923D293E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898525"/>
            <a:ext cx="2733675" cy="704850"/>
          </a:xfrm>
          <a:prstGeom prst="roundRect">
            <a:avLst>
              <a:gd name="adj" fmla="val 9009"/>
            </a:avLst>
          </a:prstGeom>
          <a:solidFill>
            <a:schemeClr val="accent3">
              <a:alpha val="93000"/>
            </a:schemeClr>
          </a:solidFill>
        </p:spPr>
        <p:txBody>
          <a:bodyPr anchor="ctr" anchorCtr="0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</p:spTree>
    <p:extLst>
      <p:ext uri="{BB962C8B-B14F-4D97-AF65-F5344CB8AC3E}">
        <p14:creationId xmlns:p14="http://schemas.microsoft.com/office/powerpoint/2010/main" val="526582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sopgave vers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B21246-8029-4D27-ABA3-FC7D22A8DF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9513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B21246-8029-4D27-ABA3-FC7D22A8D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AD9CE747-9EB7-48D0-B446-7DAACF2DBF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E391A31-32E7-4137-AE26-A0B0274E6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768" y="2071687"/>
            <a:ext cx="7745339" cy="2628900"/>
          </a:xfrm>
        </p:spPr>
        <p:txBody>
          <a:bodyPr/>
          <a:lstStyle>
            <a:lvl1pPr marL="182563" indent="-182563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7624763" algn="r"/>
              </a:tabLst>
              <a:defRPr sz="1200"/>
            </a:lvl1pPr>
            <a:lvl2pPr>
              <a:defRPr sz="1100"/>
            </a:lvl2pPr>
            <a:lvl3pPr>
              <a:defRPr sz="1000"/>
            </a:lvl3pPr>
            <a:lvl4pPr>
              <a:defRPr sz="800"/>
            </a:lvl4pPr>
            <a:lvl5pPr>
              <a:defRPr sz="700"/>
            </a:lvl5pPr>
          </a:lstStyle>
          <a:p>
            <a:pPr lvl="0"/>
            <a:r>
              <a:rPr lang="nl-NL" dirty="0"/>
              <a:t>Inhoudsopgav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6D78475-2ECB-48A2-91AA-D923D293E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550" y="898525"/>
            <a:ext cx="2733675" cy="704850"/>
          </a:xfrm>
          <a:prstGeom prst="roundRect">
            <a:avLst>
              <a:gd name="adj" fmla="val 9009"/>
            </a:avLst>
          </a:prstGeom>
          <a:solidFill>
            <a:schemeClr val="accent3">
              <a:alpha val="93000"/>
            </a:schemeClr>
          </a:solidFill>
        </p:spPr>
        <p:txBody>
          <a:bodyPr anchor="ctr" anchorCtr="0">
            <a:no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</p:spTree>
    <p:extLst>
      <p:ext uri="{BB962C8B-B14F-4D97-AF65-F5344CB8AC3E}">
        <p14:creationId xmlns:p14="http://schemas.microsoft.com/office/powerpoint/2010/main" val="286536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sopgave vers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B21246-8029-4D27-ABA3-FC7D22A8DF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B21246-8029-4D27-ABA3-FC7D22A8D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AD9CE747-9EB7-48D0-B446-7DAACF2DBF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D21E2D22-2650-499A-838C-1CB19D4F0C5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15844" y="211610"/>
            <a:ext cx="8719200" cy="4723410"/>
          </a:xfrm>
          <a:custGeom>
            <a:avLst/>
            <a:gdLst>
              <a:gd name="T0" fmla="*/ 40 w 7332"/>
              <a:gd name="T1" fmla="*/ 0 h 3960"/>
              <a:gd name="T2" fmla="*/ 0 w 7332"/>
              <a:gd name="T3" fmla="*/ 40 h 3960"/>
              <a:gd name="T4" fmla="*/ 0 w 7332"/>
              <a:gd name="T5" fmla="*/ 3920 h 3960"/>
              <a:gd name="T6" fmla="*/ 40 w 7332"/>
              <a:gd name="T7" fmla="*/ 3960 h 3960"/>
              <a:gd name="T8" fmla="*/ 7292 w 7332"/>
              <a:gd name="T9" fmla="*/ 3960 h 3960"/>
              <a:gd name="T10" fmla="*/ 7332 w 7332"/>
              <a:gd name="T11" fmla="*/ 3920 h 3960"/>
              <a:gd name="T12" fmla="*/ 7332 w 7332"/>
              <a:gd name="T13" fmla="*/ 40 h 3960"/>
              <a:gd name="T14" fmla="*/ 7292 w 7332"/>
              <a:gd name="T15" fmla="*/ 0 h 3960"/>
              <a:gd name="T16" fmla="*/ 40 w 7332"/>
              <a:gd name="T17" fmla="*/ 0 h 3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32" h="3960">
                <a:moveTo>
                  <a:pt x="40" y="0"/>
                </a:moveTo>
                <a:cubicBezTo>
                  <a:pt x="40" y="0"/>
                  <a:pt x="0" y="0"/>
                  <a:pt x="0" y="40"/>
                </a:cubicBezTo>
                <a:cubicBezTo>
                  <a:pt x="0" y="3920"/>
                  <a:pt x="0" y="3920"/>
                  <a:pt x="0" y="3920"/>
                </a:cubicBezTo>
                <a:cubicBezTo>
                  <a:pt x="0" y="3920"/>
                  <a:pt x="0" y="3960"/>
                  <a:pt x="40" y="3960"/>
                </a:cubicBezTo>
                <a:cubicBezTo>
                  <a:pt x="7292" y="3960"/>
                  <a:pt x="7292" y="3960"/>
                  <a:pt x="7292" y="3960"/>
                </a:cubicBezTo>
                <a:cubicBezTo>
                  <a:pt x="7292" y="3960"/>
                  <a:pt x="7332" y="3960"/>
                  <a:pt x="7332" y="3920"/>
                </a:cubicBezTo>
                <a:cubicBezTo>
                  <a:pt x="7332" y="40"/>
                  <a:pt x="7332" y="40"/>
                  <a:pt x="7332" y="40"/>
                </a:cubicBezTo>
                <a:cubicBezTo>
                  <a:pt x="7332" y="40"/>
                  <a:pt x="7332" y="0"/>
                  <a:pt x="7292" y="0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E391A31-32E7-4137-AE26-A0B0274E6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768" y="2071687"/>
            <a:ext cx="7745339" cy="2628900"/>
          </a:xfrm>
        </p:spPr>
        <p:txBody>
          <a:bodyPr/>
          <a:lstStyle>
            <a:lvl1pPr marL="182563" indent="-182563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7624763" algn="r"/>
              </a:tabLst>
              <a:defRPr sz="12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000"/>
            </a:lvl3pPr>
            <a:lvl4pPr>
              <a:defRPr sz="800"/>
            </a:lvl4pPr>
            <a:lvl5pPr>
              <a:defRPr sz="700"/>
            </a:lvl5pPr>
          </a:lstStyle>
          <a:p>
            <a:pPr lvl="0"/>
            <a:r>
              <a:rPr lang="nl-NL" dirty="0"/>
              <a:t>Inhoudsopgav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CBDB4C3-0409-4173-BA5F-91A0F2FE3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720" y="1112619"/>
            <a:ext cx="7453312" cy="2908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</p:spTree>
    <p:extLst>
      <p:ext uri="{BB962C8B-B14F-4D97-AF65-F5344CB8AC3E}">
        <p14:creationId xmlns:p14="http://schemas.microsoft.com/office/powerpoint/2010/main" val="10678304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FB1D0512-7F3D-4A1A-9FE9-15D7D2084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36A0B97C-7579-4769-9DC2-D3CDC52E9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9975" y="635511"/>
            <a:ext cx="2858400" cy="2516400"/>
          </a:xfrm>
          <a:prstGeom prst="roundRect">
            <a:avLst>
              <a:gd name="adj" fmla="val 2473"/>
            </a:avLst>
          </a:prstGeom>
          <a:solidFill>
            <a:schemeClr val="accent6"/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  <p:sp>
        <p:nvSpPr>
          <p:cNvPr id="16" name="Ondertitel 15">
            <a:extLst>
              <a:ext uri="{FF2B5EF4-FFF2-40B4-BE49-F238E27FC236}">
                <a16:creationId xmlns:a16="http://schemas.microsoft.com/office/drawing/2014/main" id="{551F7264-8CEE-4D21-AE77-FE5000376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04407" y="2647086"/>
            <a:ext cx="3128905" cy="1010514"/>
          </a:xfrm>
          <a:custGeom>
            <a:avLst/>
            <a:gdLst>
              <a:gd name="connsiteX0" fmla="*/ 50025 w 3128905"/>
              <a:gd name="connsiteY0" fmla="*/ 0 h 1010514"/>
              <a:gd name="connsiteX1" fmla="*/ 1497158 w 3128905"/>
              <a:gd name="connsiteY1" fmla="*/ 0 h 1010514"/>
              <a:gd name="connsiteX2" fmla="*/ 1563857 w 3128905"/>
              <a:gd name="connsiteY2" fmla="*/ 106307 h 1010514"/>
              <a:gd name="connsiteX3" fmla="*/ 1631747 w 3128905"/>
              <a:gd name="connsiteY3" fmla="*/ 0 h 1010514"/>
              <a:gd name="connsiteX4" fmla="*/ 3077690 w 3128905"/>
              <a:gd name="connsiteY4" fmla="*/ 0 h 1010514"/>
              <a:gd name="connsiteX5" fmla="*/ 3128905 w 3128905"/>
              <a:gd name="connsiteY5" fmla="*/ 50167 h 1010514"/>
              <a:gd name="connsiteX6" fmla="*/ 3128905 w 3128905"/>
              <a:gd name="connsiteY6" fmla="*/ 960347 h 1010514"/>
              <a:gd name="connsiteX7" fmla="*/ 3077690 w 3128905"/>
              <a:gd name="connsiteY7" fmla="*/ 1010514 h 1010514"/>
              <a:gd name="connsiteX8" fmla="*/ 50025 w 3128905"/>
              <a:gd name="connsiteY8" fmla="*/ 1010514 h 1010514"/>
              <a:gd name="connsiteX9" fmla="*/ 0 w 3128905"/>
              <a:gd name="connsiteY9" fmla="*/ 960347 h 1010514"/>
              <a:gd name="connsiteX10" fmla="*/ 0 w 3128905"/>
              <a:gd name="connsiteY10" fmla="*/ 50167 h 1010514"/>
              <a:gd name="connsiteX11" fmla="*/ 50025 w 3128905"/>
              <a:gd name="connsiteY11" fmla="*/ 0 h 101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128905" h="1010514">
                <a:moveTo>
                  <a:pt x="50025" y="0"/>
                </a:moveTo>
                <a:cubicBezTo>
                  <a:pt x="50025" y="0"/>
                  <a:pt x="50025" y="0"/>
                  <a:pt x="1497158" y="0"/>
                </a:cubicBezTo>
                <a:cubicBezTo>
                  <a:pt x="1497158" y="0"/>
                  <a:pt x="1497158" y="0"/>
                  <a:pt x="1563857" y="106307"/>
                </a:cubicBezTo>
                <a:cubicBezTo>
                  <a:pt x="1563857" y="106307"/>
                  <a:pt x="1563857" y="106307"/>
                  <a:pt x="1631747" y="0"/>
                </a:cubicBezTo>
                <a:cubicBezTo>
                  <a:pt x="1631747" y="0"/>
                  <a:pt x="1631747" y="0"/>
                  <a:pt x="3077690" y="0"/>
                </a:cubicBezTo>
                <a:cubicBezTo>
                  <a:pt x="3128905" y="0"/>
                  <a:pt x="3128905" y="50167"/>
                  <a:pt x="3128905" y="50167"/>
                </a:cubicBezTo>
                <a:cubicBezTo>
                  <a:pt x="3128905" y="50167"/>
                  <a:pt x="3128905" y="50167"/>
                  <a:pt x="3128905" y="960347"/>
                </a:cubicBezTo>
                <a:cubicBezTo>
                  <a:pt x="3128905" y="1010514"/>
                  <a:pt x="3077690" y="1010514"/>
                  <a:pt x="3077690" y="1010514"/>
                </a:cubicBezTo>
                <a:cubicBezTo>
                  <a:pt x="3077690" y="1010514"/>
                  <a:pt x="3077690" y="1010514"/>
                  <a:pt x="50025" y="1010514"/>
                </a:cubicBezTo>
                <a:cubicBezTo>
                  <a:pt x="0" y="1010514"/>
                  <a:pt x="0" y="960347"/>
                  <a:pt x="0" y="960347"/>
                </a:cubicBezTo>
                <a:cubicBezTo>
                  <a:pt x="0" y="960347"/>
                  <a:pt x="0" y="960347"/>
                  <a:pt x="0" y="50167"/>
                </a:cubicBezTo>
                <a:cubicBezTo>
                  <a:pt x="0" y="0"/>
                  <a:pt x="50025" y="0"/>
                  <a:pt x="50025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wrap="square" lIns="144000" tIns="180000" rIns="0" bIns="72000" rtlCol="0" anchor="t" anchorCtr="0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10000"/>
              </a:lnSpc>
            </a:pPr>
            <a:r>
              <a:rPr lang="nl-NL" dirty="0"/>
              <a:t>Tek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2058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0D82A6D-639C-432A-8DB6-29EB687688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44474" y="241952"/>
            <a:ext cx="8655052" cy="4659596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CBA0C283-F54F-45D8-AD45-2CB769E507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62" y="635511"/>
            <a:ext cx="3709500" cy="1802889"/>
          </a:xfrm>
          <a:prstGeom prst="roundRect">
            <a:avLst>
              <a:gd name="adj" fmla="val 2473"/>
            </a:avLst>
          </a:prstGeom>
          <a:solidFill>
            <a:schemeClr val="accent2">
              <a:alpha val="93000"/>
            </a:schemeClr>
          </a:solidFill>
        </p:spPr>
        <p:txBody>
          <a:bodyPr vert="horz" wrap="square" lIns="288000" tIns="288000" rIns="0" bIns="0" rtlCol="0" anchor="t" anchorCtr="0">
            <a:normAutofit/>
          </a:bodyPr>
          <a:lstStyle>
            <a:lvl1pPr marL="450850" indent="-450850">
              <a:buFont typeface="+mj-lt"/>
              <a:buAutoNum type="arabicPeriod"/>
              <a:defRPr lang="nl-NL" sz="2500" dirty="0">
                <a:solidFill>
                  <a:schemeClr val="bg1"/>
                </a:solidFill>
              </a:defRPr>
            </a:lvl1pPr>
          </a:lstStyle>
          <a:p>
            <a:pPr marL="457200" lvl="0" indent="-45720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24121305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E1174D52-0D13-4A2F-9A1E-81B86B6650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44474" y="1562100"/>
            <a:ext cx="8654400" cy="333944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8BEA8F2F-DA5A-4D43-833E-5C314D22E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4738" y="635511"/>
            <a:ext cx="2858400" cy="1795074"/>
          </a:xfrm>
          <a:prstGeom prst="roundRect">
            <a:avLst>
              <a:gd name="adj" fmla="val 2473"/>
            </a:avLst>
          </a:prstGeom>
          <a:solidFill>
            <a:schemeClr val="accent4"/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17215543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37C02195-447C-404F-B318-B6C67B7AD5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196" y="0"/>
            <a:ext cx="6038479" cy="514350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4FAB9750-7A74-4AB2-ADA5-20CF1B573E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4537" y="635511"/>
            <a:ext cx="2858400" cy="2516400"/>
          </a:xfrm>
          <a:prstGeom prst="roundRect">
            <a:avLst>
              <a:gd name="adj" fmla="val 2473"/>
            </a:avLst>
          </a:prstGeom>
          <a:solidFill>
            <a:schemeClr val="accent4"/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  <p:sp>
        <p:nvSpPr>
          <p:cNvPr id="10" name="Ondertitel 9">
            <a:extLst>
              <a:ext uri="{FF2B5EF4-FFF2-40B4-BE49-F238E27FC236}">
                <a16:creationId xmlns:a16="http://schemas.microsoft.com/office/drawing/2014/main" id="{A79502BF-0EB1-41A5-A425-3A9F7A411A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16727" y="3790086"/>
            <a:ext cx="3128905" cy="1010514"/>
          </a:xfrm>
          <a:custGeom>
            <a:avLst/>
            <a:gdLst>
              <a:gd name="connsiteX0" fmla="*/ 50025 w 3128905"/>
              <a:gd name="connsiteY0" fmla="*/ 0 h 1010514"/>
              <a:gd name="connsiteX1" fmla="*/ 1497158 w 3128905"/>
              <a:gd name="connsiteY1" fmla="*/ 0 h 1010514"/>
              <a:gd name="connsiteX2" fmla="*/ 1563857 w 3128905"/>
              <a:gd name="connsiteY2" fmla="*/ 106307 h 1010514"/>
              <a:gd name="connsiteX3" fmla="*/ 1631747 w 3128905"/>
              <a:gd name="connsiteY3" fmla="*/ 0 h 1010514"/>
              <a:gd name="connsiteX4" fmla="*/ 3077690 w 3128905"/>
              <a:gd name="connsiteY4" fmla="*/ 0 h 1010514"/>
              <a:gd name="connsiteX5" fmla="*/ 3128905 w 3128905"/>
              <a:gd name="connsiteY5" fmla="*/ 50167 h 1010514"/>
              <a:gd name="connsiteX6" fmla="*/ 3128905 w 3128905"/>
              <a:gd name="connsiteY6" fmla="*/ 960347 h 1010514"/>
              <a:gd name="connsiteX7" fmla="*/ 3077690 w 3128905"/>
              <a:gd name="connsiteY7" fmla="*/ 1010514 h 1010514"/>
              <a:gd name="connsiteX8" fmla="*/ 50025 w 3128905"/>
              <a:gd name="connsiteY8" fmla="*/ 1010514 h 1010514"/>
              <a:gd name="connsiteX9" fmla="*/ 0 w 3128905"/>
              <a:gd name="connsiteY9" fmla="*/ 960347 h 1010514"/>
              <a:gd name="connsiteX10" fmla="*/ 0 w 3128905"/>
              <a:gd name="connsiteY10" fmla="*/ 50167 h 1010514"/>
              <a:gd name="connsiteX11" fmla="*/ 50025 w 3128905"/>
              <a:gd name="connsiteY11" fmla="*/ 0 h 101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128905" h="1010514">
                <a:moveTo>
                  <a:pt x="50025" y="0"/>
                </a:moveTo>
                <a:cubicBezTo>
                  <a:pt x="50025" y="0"/>
                  <a:pt x="50025" y="0"/>
                  <a:pt x="1497158" y="0"/>
                </a:cubicBezTo>
                <a:cubicBezTo>
                  <a:pt x="1497158" y="0"/>
                  <a:pt x="1497158" y="0"/>
                  <a:pt x="1563857" y="106307"/>
                </a:cubicBezTo>
                <a:cubicBezTo>
                  <a:pt x="1563857" y="106307"/>
                  <a:pt x="1563857" y="106307"/>
                  <a:pt x="1631747" y="0"/>
                </a:cubicBezTo>
                <a:cubicBezTo>
                  <a:pt x="1631747" y="0"/>
                  <a:pt x="1631747" y="0"/>
                  <a:pt x="3077690" y="0"/>
                </a:cubicBezTo>
                <a:cubicBezTo>
                  <a:pt x="3128905" y="0"/>
                  <a:pt x="3128905" y="50167"/>
                  <a:pt x="3128905" y="50167"/>
                </a:cubicBezTo>
                <a:cubicBezTo>
                  <a:pt x="3128905" y="50167"/>
                  <a:pt x="3128905" y="50167"/>
                  <a:pt x="3128905" y="960347"/>
                </a:cubicBezTo>
                <a:cubicBezTo>
                  <a:pt x="3128905" y="1010514"/>
                  <a:pt x="3077690" y="1010514"/>
                  <a:pt x="3077690" y="1010514"/>
                </a:cubicBezTo>
                <a:cubicBezTo>
                  <a:pt x="3077690" y="1010514"/>
                  <a:pt x="3077690" y="1010514"/>
                  <a:pt x="50025" y="1010514"/>
                </a:cubicBezTo>
                <a:cubicBezTo>
                  <a:pt x="0" y="1010514"/>
                  <a:pt x="0" y="960347"/>
                  <a:pt x="0" y="960347"/>
                </a:cubicBezTo>
                <a:cubicBezTo>
                  <a:pt x="0" y="960347"/>
                  <a:pt x="0" y="960347"/>
                  <a:pt x="0" y="50167"/>
                </a:cubicBezTo>
                <a:cubicBezTo>
                  <a:pt x="0" y="0"/>
                  <a:pt x="50025" y="0"/>
                  <a:pt x="5002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vert="horz" wrap="square" lIns="144000" tIns="180000" rIns="0" bIns="72000" rtlCol="0" anchor="t" anchorCtr="0">
            <a:noAutofit/>
          </a:bodyPr>
          <a:lstStyle>
            <a:lvl1pPr>
              <a:defRPr lang="en-US" sz="800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110000"/>
              </a:lnSpc>
            </a:pPr>
            <a:r>
              <a:rPr lang="nl-NL" dirty="0"/>
              <a:t>Tek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48981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2B61A5FB-DD3E-47BE-A21A-78CD2234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05194" y="0"/>
            <a:ext cx="6664862" cy="514350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2B77ED7B-42B0-4058-9A90-6C2E0F09D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9975" y="635511"/>
            <a:ext cx="2858400" cy="2516400"/>
          </a:xfrm>
          <a:prstGeom prst="roundRect">
            <a:avLst>
              <a:gd name="adj" fmla="val 2473"/>
            </a:avLst>
          </a:prstGeom>
          <a:solidFill>
            <a:srgbClr val="8E481F">
              <a:alpha val="91000"/>
            </a:srgbClr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  <p:sp>
        <p:nvSpPr>
          <p:cNvPr id="11" name="Ondertitel 10">
            <a:extLst>
              <a:ext uri="{FF2B5EF4-FFF2-40B4-BE49-F238E27FC236}">
                <a16:creationId xmlns:a16="http://schemas.microsoft.com/office/drawing/2014/main" id="{54DDD162-1B9E-4123-A6B2-2E6380EE0C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04407" y="2647086"/>
            <a:ext cx="3128905" cy="1010514"/>
          </a:xfrm>
          <a:custGeom>
            <a:avLst/>
            <a:gdLst>
              <a:gd name="connsiteX0" fmla="*/ 50025 w 3128905"/>
              <a:gd name="connsiteY0" fmla="*/ 0 h 1010514"/>
              <a:gd name="connsiteX1" fmla="*/ 1497158 w 3128905"/>
              <a:gd name="connsiteY1" fmla="*/ 0 h 1010514"/>
              <a:gd name="connsiteX2" fmla="*/ 1563857 w 3128905"/>
              <a:gd name="connsiteY2" fmla="*/ 106307 h 1010514"/>
              <a:gd name="connsiteX3" fmla="*/ 1631747 w 3128905"/>
              <a:gd name="connsiteY3" fmla="*/ 0 h 1010514"/>
              <a:gd name="connsiteX4" fmla="*/ 3077690 w 3128905"/>
              <a:gd name="connsiteY4" fmla="*/ 0 h 1010514"/>
              <a:gd name="connsiteX5" fmla="*/ 3128905 w 3128905"/>
              <a:gd name="connsiteY5" fmla="*/ 50167 h 1010514"/>
              <a:gd name="connsiteX6" fmla="*/ 3128905 w 3128905"/>
              <a:gd name="connsiteY6" fmla="*/ 960347 h 1010514"/>
              <a:gd name="connsiteX7" fmla="*/ 3077690 w 3128905"/>
              <a:gd name="connsiteY7" fmla="*/ 1010514 h 1010514"/>
              <a:gd name="connsiteX8" fmla="*/ 50025 w 3128905"/>
              <a:gd name="connsiteY8" fmla="*/ 1010514 h 1010514"/>
              <a:gd name="connsiteX9" fmla="*/ 0 w 3128905"/>
              <a:gd name="connsiteY9" fmla="*/ 960347 h 1010514"/>
              <a:gd name="connsiteX10" fmla="*/ 0 w 3128905"/>
              <a:gd name="connsiteY10" fmla="*/ 50167 h 1010514"/>
              <a:gd name="connsiteX11" fmla="*/ 50025 w 3128905"/>
              <a:gd name="connsiteY11" fmla="*/ 0 h 101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128905" h="1010514">
                <a:moveTo>
                  <a:pt x="50025" y="0"/>
                </a:moveTo>
                <a:cubicBezTo>
                  <a:pt x="50025" y="0"/>
                  <a:pt x="50025" y="0"/>
                  <a:pt x="1497158" y="0"/>
                </a:cubicBezTo>
                <a:cubicBezTo>
                  <a:pt x="1497158" y="0"/>
                  <a:pt x="1497158" y="0"/>
                  <a:pt x="1563857" y="106307"/>
                </a:cubicBezTo>
                <a:cubicBezTo>
                  <a:pt x="1563857" y="106307"/>
                  <a:pt x="1563857" y="106307"/>
                  <a:pt x="1631747" y="0"/>
                </a:cubicBezTo>
                <a:cubicBezTo>
                  <a:pt x="1631747" y="0"/>
                  <a:pt x="1631747" y="0"/>
                  <a:pt x="3077690" y="0"/>
                </a:cubicBezTo>
                <a:cubicBezTo>
                  <a:pt x="3128905" y="0"/>
                  <a:pt x="3128905" y="50167"/>
                  <a:pt x="3128905" y="50167"/>
                </a:cubicBezTo>
                <a:cubicBezTo>
                  <a:pt x="3128905" y="50167"/>
                  <a:pt x="3128905" y="50167"/>
                  <a:pt x="3128905" y="960347"/>
                </a:cubicBezTo>
                <a:cubicBezTo>
                  <a:pt x="3128905" y="1010514"/>
                  <a:pt x="3077690" y="1010514"/>
                  <a:pt x="3077690" y="1010514"/>
                </a:cubicBezTo>
                <a:cubicBezTo>
                  <a:pt x="3077690" y="1010514"/>
                  <a:pt x="3077690" y="1010514"/>
                  <a:pt x="50025" y="1010514"/>
                </a:cubicBezTo>
                <a:cubicBezTo>
                  <a:pt x="0" y="1010514"/>
                  <a:pt x="0" y="960347"/>
                  <a:pt x="0" y="960347"/>
                </a:cubicBezTo>
                <a:cubicBezTo>
                  <a:pt x="0" y="960347"/>
                  <a:pt x="0" y="960347"/>
                  <a:pt x="0" y="50167"/>
                </a:cubicBezTo>
                <a:cubicBezTo>
                  <a:pt x="0" y="0"/>
                  <a:pt x="50025" y="0"/>
                  <a:pt x="50025" y="0"/>
                </a:cubicBezTo>
                <a:close/>
              </a:path>
            </a:pathLst>
          </a:custGeom>
          <a:solidFill>
            <a:srgbClr val="490E67"/>
          </a:solidFill>
        </p:spPr>
        <p:txBody>
          <a:bodyPr vert="horz" wrap="square" lIns="144000" tIns="180000" rIns="0" bIns="72000" rtlCol="0" anchor="t" anchorCtr="0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10000"/>
              </a:lnSpc>
            </a:pPr>
            <a:r>
              <a:rPr lang="nl-NL" dirty="0"/>
              <a:t>Tek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6615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988FB143-F7A8-4419-A051-2CF4585F8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66536" y="1219201"/>
            <a:ext cx="8410923" cy="2992800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5901C1C2-F944-445B-8D67-981C6C0980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4738" y="635511"/>
            <a:ext cx="2858400" cy="2516400"/>
          </a:xfrm>
          <a:prstGeom prst="roundRect">
            <a:avLst>
              <a:gd name="adj" fmla="val 2473"/>
            </a:avLst>
          </a:prstGeom>
          <a:solidFill>
            <a:schemeClr val="accent3"/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35404247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50BEB510-7D12-419B-B079-2D5DE5D5B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7200" y="1219200"/>
            <a:ext cx="8409600" cy="349154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57C6DE9-BE1A-4F51-9D3D-58D04E00AF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4738" y="635511"/>
            <a:ext cx="2858400" cy="2516400"/>
          </a:xfrm>
          <a:prstGeom prst="roundRect">
            <a:avLst>
              <a:gd name="adj" fmla="val 2473"/>
            </a:avLst>
          </a:prstGeom>
          <a:solidFill>
            <a:schemeClr val="accent4"/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</p:spTree>
    <p:extLst>
      <p:ext uri="{BB962C8B-B14F-4D97-AF65-F5344CB8AC3E}">
        <p14:creationId xmlns:p14="http://schemas.microsoft.com/office/powerpoint/2010/main" val="5091846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 -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CC8A17E-D612-4588-893C-2B88DCAE23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9" name="Titel 19">
            <a:extLst>
              <a:ext uri="{FF2B5EF4-FFF2-40B4-BE49-F238E27FC236}">
                <a16:creationId xmlns:a16="http://schemas.microsoft.com/office/drawing/2014/main" id="{0F2D4524-0F2E-4454-8A01-DBD3DF0190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0" name="Tijdelijke aanduiding voor tekst 26">
            <a:extLst>
              <a:ext uri="{FF2B5EF4-FFF2-40B4-BE49-F238E27FC236}">
                <a16:creationId xmlns:a16="http://schemas.microsoft.com/office/drawing/2014/main" id="{394DCFE4-439B-4F67-9F13-2DDAA4AA7F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1" name="Tijdelijke aanduiding voor tekst 26">
            <a:extLst>
              <a:ext uri="{FF2B5EF4-FFF2-40B4-BE49-F238E27FC236}">
                <a16:creationId xmlns:a16="http://schemas.microsoft.com/office/drawing/2014/main" id="{44C1FD67-667E-4B66-B7B4-FB5194D4CF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</p:spTree>
    <p:extLst>
      <p:ext uri="{BB962C8B-B14F-4D97-AF65-F5344CB8AC3E}">
        <p14:creationId xmlns:p14="http://schemas.microsoft.com/office/powerpoint/2010/main" val="42868177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de foto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84775" y="1419294"/>
            <a:ext cx="3527425" cy="2989194"/>
          </a:xfrm>
        </p:spPr>
        <p:txBody>
          <a:bodyPr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C929864-8829-415D-8AB1-29DFE7461C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5900" y="1058863"/>
            <a:ext cx="4264660" cy="3852862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8840DCBB-7376-46A7-80E3-E3E1352148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258533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>
          <p15:clr>
            <a:srgbClr val="FBAE40"/>
          </p15:clr>
        </p15:guide>
        <p15:guide id="3" pos="3266">
          <p15:clr>
            <a:srgbClr val="FBAE40"/>
          </p15:clr>
        </p15:guide>
        <p15:guide id="4" pos="136">
          <p15:clr>
            <a:srgbClr val="FBAE40"/>
          </p15:clr>
        </p15:guide>
        <p15:guide id="5" orient="horz" pos="667">
          <p15:clr>
            <a:srgbClr val="FBAE40"/>
          </p15:clr>
        </p15:guide>
        <p15:guide id="6" orient="horz" pos="3094">
          <p15:clr>
            <a:srgbClr val="FBAE40"/>
          </p15:clr>
        </p15:guide>
        <p15:guide id="7" orient="horz" pos="277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sopgave vers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B21246-8029-4D27-ABA3-FC7D22A8DF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11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B21246-8029-4D27-ABA3-FC7D22A8D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AD9CE747-9EB7-48D0-B446-7DAACF2DBF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D21E2D22-2650-499A-838C-1CB19D4F0C5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15844" y="211610"/>
            <a:ext cx="8719200" cy="4723410"/>
          </a:xfrm>
          <a:custGeom>
            <a:avLst/>
            <a:gdLst>
              <a:gd name="T0" fmla="*/ 40 w 7332"/>
              <a:gd name="T1" fmla="*/ 0 h 3960"/>
              <a:gd name="T2" fmla="*/ 0 w 7332"/>
              <a:gd name="T3" fmla="*/ 40 h 3960"/>
              <a:gd name="T4" fmla="*/ 0 w 7332"/>
              <a:gd name="T5" fmla="*/ 3920 h 3960"/>
              <a:gd name="T6" fmla="*/ 40 w 7332"/>
              <a:gd name="T7" fmla="*/ 3960 h 3960"/>
              <a:gd name="T8" fmla="*/ 7292 w 7332"/>
              <a:gd name="T9" fmla="*/ 3960 h 3960"/>
              <a:gd name="T10" fmla="*/ 7332 w 7332"/>
              <a:gd name="T11" fmla="*/ 3920 h 3960"/>
              <a:gd name="T12" fmla="*/ 7332 w 7332"/>
              <a:gd name="T13" fmla="*/ 40 h 3960"/>
              <a:gd name="T14" fmla="*/ 7292 w 7332"/>
              <a:gd name="T15" fmla="*/ 0 h 3960"/>
              <a:gd name="T16" fmla="*/ 40 w 7332"/>
              <a:gd name="T17" fmla="*/ 0 h 3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32" h="3960">
                <a:moveTo>
                  <a:pt x="40" y="0"/>
                </a:moveTo>
                <a:cubicBezTo>
                  <a:pt x="40" y="0"/>
                  <a:pt x="0" y="0"/>
                  <a:pt x="0" y="40"/>
                </a:cubicBezTo>
                <a:cubicBezTo>
                  <a:pt x="0" y="3920"/>
                  <a:pt x="0" y="3920"/>
                  <a:pt x="0" y="3920"/>
                </a:cubicBezTo>
                <a:cubicBezTo>
                  <a:pt x="0" y="3920"/>
                  <a:pt x="0" y="3960"/>
                  <a:pt x="40" y="3960"/>
                </a:cubicBezTo>
                <a:cubicBezTo>
                  <a:pt x="7292" y="3960"/>
                  <a:pt x="7292" y="3960"/>
                  <a:pt x="7292" y="3960"/>
                </a:cubicBezTo>
                <a:cubicBezTo>
                  <a:pt x="7292" y="3960"/>
                  <a:pt x="7332" y="3960"/>
                  <a:pt x="7332" y="3920"/>
                </a:cubicBezTo>
                <a:cubicBezTo>
                  <a:pt x="7332" y="40"/>
                  <a:pt x="7332" y="40"/>
                  <a:pt x="7332" y="40"/>
                </a:cubicBezTo>
                <a:cubicBezTo>
                  <a:pt x="7332" y="40"/>
                  <a:pt x="7332" y="0"/>
                  <a:pt x="7292" y="0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E391A31-32E7-4137-AE26-A0B0274E6F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9768" y="2071687"/>
            <a:ext cx="7745339" cy="2628900"/>
          </a:xfrm>
        </p:spPr>
        <p:txBody>
          <a:bodyPr/>
          <a:lstStyle>
            <a:lvl1pPr marL="182563" indent="-182563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7624763" algn="r"/>
              </a:tabLst>
              <a:defRPr sz="12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000"/>
            </a:lvl3pPr>
            <a:lvl4pPr>
              <a:defRPr sz="800"/>
            </a:lvl4pPr>
            <a:lvl5pPr>
              <a:defRPr sz="700"/>
            </a:lvl5pPr>
          </a:lstStyle>
          <a:p>
            <a:pPr lvl="0"/>
            <a:r>
              <a:rPr lang="nl-NL" dirty="0"/>
              <a:t>Inhoudsopgav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CBDB4C3-0409-4173-BA5F-91A0F2FE3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720" y="1112619"/>
            <a:ext cx="7453312" cy="2908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nhoudsopgave</a:t>
            </a:r>
          </a:p>
        </p:txBody>
      </p:sp>
    </p:spTree>
    <p:extLst>
      <p:ext uri="{BB962C8B-B14F-4D97-AF65-F5344CB8AC3E}">
        <p14:creationId xmlns:p14="http://schemas.microsoft.com/office/powerpoint/2010/main" val="192769397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 foto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16237" y="1419294"/>
            <a:ext cx="5795963" cy="2989194"/>
          </a:xfrm>
        </p:spPr>
        <p:txBody>
          <a:bodyPr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C929864-8829-415D-8AB1-29DFE7461C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5900" y="1058863"/>
            <a:ext cx="2184400" cy="3852862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6B6A3533-D483-4CBC-9607-80AAC115A2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026637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>
          <p15:clr>
            <a:srgbClr val="FBAE40"/>
          </p15:clr>
        </p15:guide>
        <p15:guide id="3" pos="1837">
          <p15:clr>
            <a:srgbClr val="FBAE40"/>
          </p15:clr>
        </p15:guide>
        <p15:guide id="4" pos="136">
          <p15:clr>
            <a:srgbClr val="FBAE40"/>
          </p15:clr>
        </p15:guide>
        <p15:guide id="5" orient="horz" pos="667">
          <p15:clr>
            <a:srgbClr val="FBAE40"/>
          </p15:clr>
        </p15:guide>
        <p15:guide id="6" orient="horz" pos="3094">
          <p15:clr>
            <a:srgbClr val="FBAE40"/>
          </p15:clr>
        </p15:guide>
        <p15:guide id="7" orient="horz" pos="277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's. quote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27650" y="1419294"/>
            <a:ext cx="3384550" cy="2989194"/>
          </a:xfrm>
        </p:spPr>
        <p:txBody>
          <a:bodyPr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C929864-8829-415D-8AB1-29DFE7461C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5900" y="1058863"/>
            <a:ext cx="2184400" cy="3852862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16" name="Tijdelijke aanduiding voor afbeelding 5">
            <a:extLst>
              <a:ext uri="{FF2B5EF4-FFF2-40B4-BE49-F238E27FC236}">
                <a16:creationId xmlns:a16="http://schemas.microsoft.com/office/drawing/2014/main" id="{C27D8DED-9B21-4D7F-B66A-83E83FA175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639060" y="1058863"/>
            <a:ext cx="2184400" cy="1836737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id="{AF21A73D-CAD4-4AD4-84D7-A01DD60422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39060" y="3117850"/>
            <a:ext cx="2185200" cy="1793875"/>
          </a:xfrm>
          <a:prstGeom prst="roundRect">
            <a:avLst>
              <a:gd name="adj" fmla="val 2862"/>
            </a:avLst>
          </a:prstGeom>
          <a:solidFill>
            <a:schemeClr val="accent3"/>
          </a:solidFill>
        </p:spPr>
        <p:txBody>
          <a:bodyPr lIns="198000" tIns="162000" rIns="180000" bIns="144000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ekst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6D50758F-CFC3-4157-A24D-B42EAAC4F09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350046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>
          <p15:clr>
            <a:srgbClr val="FBAE40"/>
          </p15:clr>
        </p15:guide>
        <p15:guide id="3" pos="3356">
          <p15:clr>
            <a:srgbClr val="FBAE40"/>
          </p15:clr>
        </p15:guide>
        <p15:guide id="4" pos="136">
          <p15:clr>
            <a:srgbClr val="FBAE40"/>
          </p15:clr>
        </p15:guide>
        <p15:guide id="5" orient="horz" pos="667">
          <p15:clr>
            <a:srgbClr val="FBAE40"/>
          </p15:clr>
        </p15:guide>
        <p15:guide id="6" orient="horz" pos="3094">
          <p15:clr>
            <a:srgbClr val="FBAE40"/>
          </p15:clr>
        </p15:guide>
        <p15:guide id="7" orient="horz" pos="277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's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27650" y="1419294"/>
            <a:ext cx="3384550" cy="2989194"/>
          </a:xfrm>
        </p:spPr>
        <p:txBody>
          <a:bodyPr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C929864-8829-415D-8AB1-29DFE7461C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5900" y="1058863"/>
            <a:ext cx="2184400" cy="3852862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16" name="Tijdelijke aanduiding voor afbeelding 5">
            <a:extLst>
              <a:ext uri="{FF2B5EF4-FFF2-40B4-BE49-F238E27FC236}">
                <a16:creationId xmlns:a16="http://schemas.microsoft.com/office/drawing/2014/main" id="{C27D8DED-9B21-4D7F-B66A-83E83FA175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639060" y="1058863"/>
            <a:ext cx="2184400" cy="1836737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18" name="Tijdelijke aanduiding voor afbeelding 5">
            <a:extLst>
              <a:ext uri="{FF2B5EF4-FFF2-40B4-BE49-F238E27FC236}">
                <a16:creationId xmlns:a16="http://schemas.microsoft.com/office/drawing/2014/main" id="{D3AD6F72-4CC4-47AC-9D9C-FD839B015AC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639060" y="3074988"/>
            <a:ext cx="2184400" cy="1836737"/>
          </a:xfrm>
          <a:solidFill>
            <a:schemeClr val="bg1">
              <a:lumMod val="95000"/>
            </a:schemeClr>
          </a:solidFill>
        </p:spPr>
        <p:txBody>
          <a:bodyPr bIns="504000" anchor="ctr" anchorCtr="0"/>
          <a:lstStyle>
            <a:lvl1pPr algn="ctr">
              <a:defRPr sz="100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7FC0DC09-572A-4DDA-819B-FFBE4CE9CE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139218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>
          <p15:clr>
            <a:srgbClr val="FBAE40"/>
          </p15:clr>
        </p15:guide>
        <p15:guide id="3" pos="3356">
          <p15:clr>
            <a:srgbClr val="FBAE40"/>
          </p15:clr>
        </p15:guide>
        <p15:guide id="4" pos="136">
          <p15:clr>
            <a:srgbClr val="FBAE40"/>
          </p15:clr>
        </p15:guide>
        <p15:guide id="5" orient="horz" pos="667">
          <p15:clr>
            <a:srgbClr val="FBAE40"/>
          </p15:clr>
        </p15:guide>
        <p15:guide id="6" orient="horz" pos="3094">
          <p15:clr>
            <a:srgbClr val="FBAE40"/>
          </p15:clr>
        </p15:guide>
        <p15:guide id="7" orient="horz" pos="277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schema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16463" y="1419294"/>
            <a:ext cx="3995737" cy="2989194"/>
          </a:xfrm>
        </p:spPr>
        <p:txBody>
          <a:bodyPr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042E0182-7B84-4CFA-BFF7-08AB5295FB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62688" y="3071810"/>
            <a:ext cx="1837690" cy="1839915"/>
          </a:xfrm>
          <a:custGeom>
            <a:avLst/>
            <a:gdLst>
              <a:gd name="connsiteX0" fmla="*/ 52595 w 1837690"/>
              <a:gd name="connsiteY0" fmla="*/ 0 h 1839915"/>
              <a:gd name="connsiteX1" fmla="*/ 830740 w 1837690"/>
              <a:gd name="connsiteY1" fmla="*/ 0 h 1839915"/>
              <a:gd name="connsiteX2" fmla="*/ 918845 w 1837690"/>
              <a:gd name="connsiteY2" fmla="*/ 160020 h 1839915"/>
              <a:gd name="connsiteX3" fmla="*/ 1006950 w 1837690"/>
              <a:gd name="connsiteY3" fmla="*/ 0 h 1839915"/>
              <a:gd name="connsiteX4" fmla="*/ 1785095 w 1837690"/>
              <a:gd name="connsiteY4" fmla="*/ 0 h 1839915"/>
              <a:gd name="connsiteX5" fmla="*/ 1837690 w 1837690"/>
              <a:gd name="connsiteY5" fmla="*/ 52595 h 1839915"/>
              <a:gd name="connsiteX6" fmla="*/ 1837690 w 1837690"/>
              <a:gd name="connsiteY6" fmla="*/ 1787320 h 1839915"/>
              <a:gd name="connsiteX7" fmla="*/ 1785095 w 1837690"/>
              <a:gd name="connsiteY7" fmla="*/ 1839915 h 1839915"/>
              <a:gd name="connsiteX8" fmla="*/ 52595 w 1837690"/>
              <a:gd name="connsiteY8" fmla="*/ 1839915 h 1839915"/>
              <a:gd name="connsiteX9" fmla="*/ 0 w 1837690"/>
              <a:gd name="connsiteY9" fmla="*/ 1787320 h 1839915"/>
              <a:gd name="connsiteX10" fmla="*/ 0 w 1837690"/>
              <a:gd name="connsiteY10" fmla="*/ 52595 h 1839915"/>
              <a:gd name="connsiteX11" fmla="*/ 52595 w 1837690"/>
              <a:gd name="connsiteY11" fmla="*/ 0 h 183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37690" h="1839915">
                <a:moveTo>
                  <a:pt x="52595" y="0"/>
                </a:moveTo>
                <a:lnTo>
                  <a:pt x="830740" y="0"/>
                </a:lnTo>
                <a:lnTo>
                  <a:pt x="918845" y="160020"/>
                </a:lnTo>
                <a:lnTo>
                  <a:pt x="1006950" y="0"/>
                </a:lnTo>
                <a:lnTo>
                  <a:pt x="1785095" y="0"/>
                </a:lnTo>
                <a:cubicBezTo>
                  <a:pt x="1814142" y="0"/>
                  <a:pt x="1837690" y="23548"/>
                  <a:pt x="1837690" y="52595"/>
                </a:cubicBezTo>
                <a:lnTo>
                  <a:pt x="1837690" y="1787320"/>
                </a:lnTo>
                <a:cubicBezTo>
                  <a:pt x="1837690" y="1816367"/>
                  <a:pt x="1814142" y="1839915"/>
                  <a:pt x="1785095" y="1839915"/>
                </a:cubicBezTo>
                <a:lnTo>
                  <a:pt x="52595" y="1839915"/>
                </a:lnTo>
                <a:cubicBezTo>
                  <a:pt x="23548" y="1839915"/>
                  <a:pt x="0" y="1816367"/>
                  <a:pt x="0" y="1787320"/>
                </a:cubicBezTo>
                <a:lnTo>
                  <a:pt x="0" y="52595"/>
                </a:lnTo>
                <a:cubicBezTo>
                  <a:pt x="0" y="23548"/>
                  <a:pt x="23548" y="0"/>
                  <a:pt x="52595" y="0"/>
                </a:cubicBezTo>
                <a:close/>
              </a:path>
            </a:pathLst>
          </a:custGeom>
          <a:solidFill>
            <a:srgbClr val="76B82A"/>
          </a:solidFill>
        </p:spPr>
        <p:txBody>
          <a:bodyPr wrap="square" lIns="288000" tIns="306000" rIns="180000" bIns="144000">
            <a:noAutofit/>
          </a:bodyPr>
          <a:lstStyle>
            <a:lvl1pPr>
              <a:lnSpc>
                <a:spcPct val="124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ekst</a:t>
            </a:r>
          </a:p>
        </p:txBody>
      </p:sp>
      <p:sp>
        <p:nvSpPr>
          <p:cNvPr id="30" name="Tijdelijke aanduiding voor tekst 29">
            <a:extLst>
              <a:ext uri="{FF2B5EF4-FFF2-40B4-BE49-F238E27FC236}">
                <a16:creationId xmlns:a16="http://schemas.microsoft.com/office/drawing/2014/main" id="{3C8E9022-EA4A-4BCC-B3B0-3F4227C062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0" y="3071810"/>
            <a:ext cx="1837690" cy="1839915"/>
          </a:xfrm>
          <a:custGeom>
            <a:avLst/>
            <a:gdLst>
              <a:gd name="connsiteX0" fmla="*/ 52595 w 1837690"/>
              <a:gd name="connsiteY0" fmla="*/ 0 h 1839915"/>
              <a:gd name="connsiteX1" fmla="*/ 1785095 w 1837690"/>
              <a:gd name="connsiteY1" fmla="*/ 0 h 1839915"/>
              <a:gd name="connsiteX2" fmla="*/ 1837690 w 1837690"/>
              <a:gd name="connsiteY2" fmla="*/ 52595 h 1839915"/>
              <a:gd name="connsiteX3" fmla="*/ 1837690 w 1837690"/>
              <a:gd name="connsiteY3" fmla="*/ 831852 h 1839915"/>
              <a:gd name="connsiteX4" fmla="*/ 1677670 w 1837690"/>
              <a:gd name="connsiteY4" fmla="*/ 919957 h 1839915"/>
              <a:gd name="connsiteX5" fmla="*/ 1837690 w 1837690"/>
              <a:gd name="connsiteY5" fmla="*/ 1008062 h 1839915"/>
              <a:gd name="connsiteX6" fmla="*/ 1837690 w 1837690"/>
              <a:gd name="connsiteY6" fmla="*/ 1787320 h 1839915"/>
              <a:gd name="connsiteX7" fmla="*/ 1785095 w 1837690"/>
              <a:gd name="connsiteY7" fmla="*/ 1839915 h 1839915"/>
              <a:gd name="connsiteX8" fmla="*/ 52595 w 1837690"/>
              <a:gd name="connsiteY8" fmla="*/ 1839915 h 1839915"/>
              <a:gd name="connsiteX9" fmla="*/ 0 w 1837690"/>
              <a:gd name="connsiteY9" fmla="*/ 1787320 h 1839915"/>
              <a:gd name="connsiteX10" fmla="*/ 0 w 1837690"/>
              <a:gd name="connsiteY10" fmla="*/ 52595 h 1839915"/>
              <a:gd name="connsiteX11" fmla="*/ 52595 w 1837690"/>
              <a:gd name="connsiteY11" fmla="*/ 0 h 183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37690" h="1839915">
                <a:moveTo>
                  <a:pt x="52595" y="0"/>
                </a:moveTo>
                <a:lnTo>
                  <a:pt x="1785095" y="0"/>
                </a:lnTo>
                <a:cubicBezTo>
                  <a:pt x="1814142" y="0"/>
                  <a:pt x="1837690" y="23548"/>
                  <a:pt x="1837690" y="52595"/>
                </a:cubicBezTo>
                <a:lnTo>
                  <a:pt x="1837690" y="831852"/>
                </a:lnTo>
                <a:lnTo>
                  <a:pt x="1677670" y="919957"/>
                </a:lnTo>
                <a:lnTo>
                  <a:pt x="1837690" y="1008062"/>
                </a:lnTo>
                <a:lnTo>
                  <a:pt x="1837690" y="1787320"/>
                </a:lnTo>
                <a:cubicBezTo>
                  <a:pt x="1837690" y="1816367"/>
                  <a:pt x="1814142" y="1839915"/>
                  <a:pt x="1785095" y="1839915"/>
                </a:cubicBezTo>
                <a:lnTo>
                  <a:pt x="52595" y="1839915"/>
                </a:lnTo>
                <a:cubicBezTo>
                  <a:pt x="23548" y="1839915"/>
                  <a:pt x="0" y="1816367"/>
                  <a:pt x="0" y="1787320"/>
                </a:cubicBezTo>
                <a:lnTo>
                  <a:pt x="0" y="52595"/>
                </a:lnTo>
                <a:cubicBezTo>
                  <a:pt x="0" y="23548"/>
                  <a:pt x="23548" y="0"/>
                  <a:pt x="52595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288000" tIns="306000" rIns="180000" bIns="144000">
            <a:noAutofit/>
          </a:bodyPr>
          <a:lstStyle>
            <a:lvl1pPr>
              <a:lnSpc>
                <a:spcPct val="124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ekst</a:t>
            </a:r>
          </a:p>
        </p:txBody>
      </p:sp>
      <p:sp>
        <p:nvSpPr>
          <p:cNvPr id="28" name="Tijdelijke aanduiding voor tekst 27">
            <a:extLst>
              <a:ext uri="{FF2B5EF4-FFF2-40B4-BE49-F238E27FC236}">
                <a16:creationId xmlns:a16="http://schemas.microsoft.com/office/drawing/2014/main" id="{07B8E557-9CBA-44A1-BC2D-42CE189DC95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62688" y="1058863"/>
            <a:ext cx="1837690" cy="1839915"/>
          </a:xfrm>
          <a:custGeom>
            <a:avLst/>
            <a:gdLst>
              <a:gd name="connsiteX0" fmla="*/ 52595 w 1837690"/>
              <a:gd name="connsiteY0" fmla="*/ 0 h 1839915"/>
              <a:gd name="connsiteX1" fmla="*/ 1785095 w 1837690"/>
              <a:gd name="connsiteY1" fmla="*/ 0 h 1839915"/>
              <a:gd name="connsiteX2" fmla="*/ 1837690 w 1837690"/>
              <a:gd name="connsiteY2" fmla="*/ 52595 h 1839915"/>
              <a:gd name="connsiteX3" fmla="*/ 1837690 w 1837690"/>
              <a:gd name="connsiteY3" fmla="*/ 1787320 h 1839915"/>
              <a:gd name="connsiteX4" fmla="*/ 1785095 w 1837690"/>
              <a:gd name="connsiteY4" fmla="*/ 1839915 h 1839915"/>
              <a:gd name="connsiteX5" fmla="*/ 52595 w 1837690"/>
              <a:gd name="connsiteY5" fmla="*/ 1839915 h 1839915"/>
              <a:gd name="connsiteX6" fmla="*/ 0 w 1837690"/>
              <a:gd name="connsiteY6" fmla="*/ 1787320 h 1839915"/>
              <a:gd name="connsiteX7" fmla="*/ 0 w 1837690"/>
              <a:gd name="connsiteY7" fmla="*/ 1008062 h 1839915"/>
              <a:gd name="connsiteX8" fmla="*/ 160020 w 1837690"/>
              <a:gd name="connsiteY8" fmla="*/ 919957 h 1839915"/>
              <a:gd name="connsiteX9" fmla="*/ 0 w 1837690"/>
              <a:gd name="connsiteY9" fmla="*/ 831852 h 1839915"/>
              <a:gd name="connsiteX10" fmla="*/ 0 w 1837690"/>
              <a:gd name="connsiteY10" fmla="*/ 52595 h 1839915"/>
              <a:gd name="connsiteX11" fmla="*/ 52595 w 1837690"/>
              <a:gd name="connsiteY11" fmla="*/ 0 h 183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37690" h="1839915">
                <a:moveTo>
                  <a:pt x="52595" y="0"/>
                </a:moveTo>
                <a:lnTo>
                  <a:pt x="1785095" y="0"/>
                </a:lnTo>
                <a:cubicBezTo>
                  <a:pt x="1814142" y="0"/>
                  <a:pt x="1837690" y="23548"/>
                  <a:pt x="1837690" y="52595"/>
                </a:cubicBezTo>
                <a:lnTo>
                  <a:pt x="1837690" y="1787320"/>
                </a:lnTo>
                <a:cubicBezTo>
                  <a:pt x="1837690" y="1816367"/>
                  <a:pt x="1814142" y="1839915"/>
                  <a:pt x="1785095" y="1839915"/>
                </a:cubicBezTo>
                <a:lnTo>
                  <a:pt x="52595" y="1839915"/>
                </a:lnTo>
                <a:cubicBezTo>
                  <a:pt x="23548" y="1839915"/>
                  <a:pt x="0" y="1816367"/>
                  <a:pt x="0" y="1787320"/>
                </a:cubicBezTo>
                <a:lnTo>
                  <a:pt x="0" y="1008062"/>
                </a:lnTo>
                <a:lnTo>
                  <a:pt x="160020" y="919957"/>
                </a:lnTo>
                <a:lnTo>
                  <a:pt x="0" y="831852"/>
                </a:lnTo>
                <a:lnTo>
                  <a:pt x="0" y="52595"/>
                </a:lnTo>
                <a:cubicBezTo>
                  <a:pt x="0" y="23548"/>
                  <a:pt x="23548" y="0"/>
                  <a:pt x="5259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288000" tIns="306000" rIns="180000" bIns="144000">
            <a:noAutofit/>
          </a:bodyPr>
          <a:lstStyle>
            <a:lvl1pPr>
              <a:lnSpc>
                <a:spcPct val="124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ekst</a:t>
            </a:r>
          </a:p>
        </p:txBody>
      </p:sp>
      <p:sp>
        <p:nvSpPr>
          <p:cNvPr id="27" name="Tijdelijke aanduiding voor tekst 26">
            <a:extLst>
              <a:ext uri="{FF2B5EF4-FFF2-40B4-BE49-F238E27FC236}">
                <a16:creationId xmlns:a16="http://schemas.microsoft.com/office/drawing/2014/main" id="{B5C8A854-0241-465A-BE9E-D86581E2FEB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7200" y="1058863"/>
            <a:ext cx="1837690" cy="1839915"/>
          </a:xfrm>
          <a:custGeom>
            <a:avLst/>
            <a:gdLst>
              <a:gd name="connsiteX0" fmla="*/ 52595 w 1837690"/>
              <a:gd name="connsiteY0" fmla="*/ 0 h 1839915"/>
              <a:gd name="connsiteX1" fmla="*/ 1785095 w 1837690"/>
              <a:gd name="connsiteY1" fmla="*/ 0 h 1839915"/>
              <a:gd name="connsiteX2" fmla="*/ 1837690 w 1837690"/>
              <a:gd name="connsiteY2" fmla="*/ 52595 h 1839915"/>
              <a:gd name="connsiteX3" fmla="*/ 1837690 w 1837690"/>
              <a:gd name="connsiteY3" fmla="*/ 1787320 h 1839915"/>
              <a:gd name="connsiteX4" fmla="*/ 1785095 w 1837690"/>
              <a:gd name="connsiteY4" fmla="*/ 1839915 h 1839915"/>
              <a:gd name="connsiteX5" fmla="*/ 1006950 w 1837690"/>
              <a:gd name="connsiteY5" fmla="*/ 1839915 h 1839915"/>
              <a:gd name="connsiteX6" fmla="*/ 918845 w 1837690"/>
              <a:gd name="connsiteY6" fmla="*/ 1679895 h 1839915"/>
              <a:gd name="connsiteX7" fmla="*/ 830740 w 1837690"/>
              <a:gd name="connsiteY7" fmla="*/ 1839915 h 1839915"/>
              <a:gd name="connsiteX8" fmla="*/ 52595 w 1837690"/>
              <a:gd name="connsiteY8" fmla="*/ 1839915 h 1839915"/>
              <a:gd name="connsiteX9" fmla="*/ 0 w 1837690"/>
              <a:gd name="connsiteY9" fmla="*/ 1787320 h 1839915"/>
              <a:gd name="connsiteX10" fmla="*/ 0 w 1837690"/>
              <a:gd name="connsiteY10" fmla="*/ 52595 h 1839915"/>
              <a:gd name="connsiteX11" fmla="*/ 52595 w 1837690"/>
              <a:gd name="connsiteY11" fmla="*/ 0 h 183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37690" h="1839915">
                <a:moveTo>
                  <a:pt x="52595" y="0"/>
                </a:moveTo>
                <a:lnTo>
                  <a:pt x="1785095" y="0"/>
                </a:lnTo>
                <a:cubicBezTo>
                  <a:pt x="1814142" y="0"/>
                  <a:pt x="1837690" y="23548"/>
                  <a:pt x="1837690" y="52595"/>
                </a:cubicBezTo>
                <a:lnTo>
                  <a:pt x="1837690" y="1787320"/>
                </a:lnTo>
                <a:cubicBezTo>
                  <a:pt x="1837690" y="1816367"/>
                  <a:pt x="1814142" y="1839915"/>
                  <a:pt x="1785095" y="1839915"/>
                </a:cubicBezTo>
                <a:lnTo>
                  <a:pt x="1006950" y="1839915"/>
                </a:lnTo>
                <a:lnTo>
                  <a:pt x="918845" y="1679895"/>
                </a:lnTo>
                <a:lnTo>
                  <a:pt x="830740" y="1839915"/>
                </a:lnTo>
                <a:lnTo>
                  <a:pt x="52595" y="1839915"/>
                </a:lnTo>
                <a:cubicBezTo>
                  <a:pt x="23548" y="1839915"/>
                  <a:pt x="0" y="1816367"/>
                  <a:pt x="0" y="1787320"/>
                </a:cubicBezTo>
                <a:lnTo>
                  <a:pt x="0" y="52595"/>
                </a:lnTo>
                <a:cubicBezTo>
                  <a:pt x="0" y="23548"/>
                  <a:pt x="23548" y="0"/>
                  <a:pt x="5259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288000" tIns="306000" rIns="180000" bIns="144000">
            <a:noAutofit/>
          </a:bodyPr>
          <a:lstStyle>
            <a:lvl1pPr>
              <a:lnSpc>
                <a:spcPct val="124000"/>
              </a:lnSpc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ekst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861F1F17-956A-4C41-928E-BE8737FFC6F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199054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>
          <p15:clr>
            <a:srgbClr val="FBAE40"/>
          </p15:clr>
        </p15:guide>
        <p15:guide id="3" pos="2971">
          <p15:clr>
            <a:srgbClr val="FBAE40"/>
          </p15:clr>
        </p15:guide>
        <p15:guide id="5" orient="horz" pos="667">
          <p15:clr>
            <a:srgbClr val="FBAE40"/>
          </p15:clr>
        </p15:guide>
        <p15:guide id="6" orient="horz" pos="3094">
          <p15:clr>
            <a:srgbClr val="FBAE40"/>
          </p15:clr>
        </p15:guide>
        <p15:guide id="7" pos="288">
          <p15:clr>
            <a:srgbClr val="FBAE40"/>
          </p15:clr>
        </p15:guide>
        <p15:guide id="8" orient="horz" pos="277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schema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el 19">
            <a:extLst>
              <a:ext uri="{FF2B5EF4-FFF2-40B4-BE49-F238E27FC236}">
                <a16:creationId xmlns:a16="http://schemas.microsoft.com/office/drawing/2014/main" id="{EFBA6211-95AC-4CB0-9477-0F90192869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848600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4" name="Tijdelijke aanduiding voor tekst 26">
            <a:extLst>
              <a:ext uri="{FF2B5EF4-FFF2-40B4-BE49-F238E27FC236}">
                <a16:creationId xmlns:a16="http://schemas.microsoft.com/office/drawing/2014/main" id="{F6DF4AB4-A189-46F0-88D8-AD62402D0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26">
            <a:extLst>
              <a:ext uri="{FF2B5EF4-FFF2-40B4-BE49-F238E27FC236}">
                <a16:creationId xmlns:a16="http://schemas.microsoft.com/office/drawing/2014/main" id="{B45744B0-3BA2-4440-B17D-41C37972A0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848601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229BC70-A8A0-4C33-B61D-322D257289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7789" y="1463040"/>
            <a:ext cx="4824412" cy="3002599"/>
          </a:xfrm>
        </p:spPr>
        <p:txBody>
          <a:bodyPr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29" name="Tijdelijke aanduiding voor tekst 28">
            <a:extLst>
              <a:ext uri="{FF2B5EF4-FFF2-40B4-BE49-F238E27FC236}">
                <a16:creationId xmlns:a16="http://schemas.microsoft.com/office/drawing/2014/main" id="{CF611EB8-8B5A-437C-96F4-C1D64B69AB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8962" y="1522413"/>
            <a:ext cx="1406525" cy="1408228"/>
          </a:xfrm>
          <a:custGeom>
            <a:avLst/>
            <a:gdLst>
              <a:gd name="connsiteX0" fmla="*/ 37864 w 1406525"/>
              <a:gd name="connsiteY0" fmla="*/ 0 h 1408228"/>
              <a:gd name="connsiteX1" fmla="*/ 1368661 w 1406525"/>
              <a:gd name="connsiteY1" fmla="*/ 0 h 1408228"/>
              <a:gd name="connsiteX2" fmla="*/ 1406525 w 1406525"/>
              <a:gd name="connsiteY2" fmla="*/ 37864 h 1408228"/>
              <a:gd name="connsiteX3" fmla="*/ 1406525 w 1406525"/>
              <a:gd name="connsiteY3" fmla="*/ 1370364 h 1408228"/>
              <a:gd name="connsiteX4" fmla="*/ 1368661 w 1406525"/>
              <a:gd name="connsiteY4" fmla="*/ 1408228 h 1408228"/>
              <a:gd name="connsiteX5" fmla="*/ 766028 w 1406525"/>
              <a:gd name="connsiteY5" fmla="*/ 1408228 h 1408228"/>
              <a:gd name="connsiteX6" fmla="*/ 703262 w 1406525"/>
              <a:gd name="connsiteY6" fmla="*/ 1300879 h 1408228"/>
              <a:gd name="connsiteX7" fmla="*/ 640496 w 1406525"/>
              <a:gd name="connsiteY7" fmla="*/ 1408228 h 1408228"/>
              <a:gd name="connsiteX8" fmla="*/ 37864 w 1406525"/>
              <a:gd name="connsiteY8" fmla="*/ 1408228 h 1408228"/>
              <a:gd name="connsiteX9" fmla="*/ 0 w 1406525"/>
              <a:gd name="connsiteY9" fmla="*/ 1370364 h 1408228"/>
              <a:gd name="connsiteX10" fmla="*/ 0 w 1406525"/>
              <a:gd name="connsiteY10" fmla="*/ 37864 h 1408228"/>
              <a:gd name="connsiteX11" fmla="*/ 37864 w 1406525"/>
              <a:gd name="connsiteY11" fmla="*/ 0 h 1408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06525" h="1408228">
                <a:moveTo>
                  <a:pt x="37864" y="0"/>
                </a:moveTo>
                <a:lnTo>
                  <a:pt x="1368661" y="0"/>
                </a:lnTo>
                <a:cubicBezTo>
                  <a:pt x="1389573" y="0"/>
                  <a:pt x="1406525" y="16952"/>
                  <a:pt x="1406525" y="37864"/>
                </a:cubicBezTo>
                <a:lnTo>
                  <a:pt x="1406525" y="1370364"/>
                </a:lnTo>
                <a:cubicBezTo>
                  <a:pt x="1406525" y="1391276"/>
                  <a:pt x="1389573" y="1408228"/>
                  <a:pt x="1368661" y="1408228"/>
                </a:cubicBezTo>
                <a:lnTo>
                  <a:pt x="766028" y="1408228"/>
                </a:lnTo>
                <a:lnTo>
                  <a:pt x="703262" y="1300879"/>
                </a:lnTo>
                <a:lnTo>
                  <a:pt x="640496" y="1408228"/>
                </a:lnTo>
                <a:lnTo>
                  <a:pt x="37864" y="1408228"/>
                </a:lnTo>
                <a:cubicBezTo>
                  <a:pt x="16952" y="1408228"/>
                  <a:pt x="0" y="1391276"/>
                  <a:pt x="0" y="1370364"/>
                </a:cubicBezTo>
                <a:lnTo>
                  <a:pt x="0" y="37864"/>
                </a:lnTo>
                <a:cubicBezTo>
                  <a:pt x="0" y="16952"/>
                  <a:pt x="16952" y="0"/>
                  <a:pt x="37864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lIns="216000" tIns="216000" rIns="180000" bIns="144000">
            <a:noAutofit/>
          </a:bodyPr>
          <a:lstStyle>
            <a:lvl1pPr>
              <a:lnSpc>
                <a:spcPct val="110000"/>
              </a:lnSpc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ekst</a:t>
            </a:r>
          </a:p>
        </p:txBody>
      </p:sp>
      <p:sp>
        <p:nvSpPr>
          <p:cNvPr id="30" name="Tijdelijke aanduiding voor tekst 29">
            <a:extLst>
              <a:ext uri="{FF2B5EF4-FFF2-40B4-BE49-F238E27FC236}">
                <a16:creationId xmlns:a16="http://schemas.microsoft.com/office/drawing/2014/main" id="{610757CB-D453-448F-B6F6-81BDEE824EF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25662" y="1522413"/>
            <a:ext cx="1406525" cy="1408228"/>
          </a:xfrm>
          <a:custGeom>
            <a:avLst/>
            <a:gdLst>
              <a:gd name="connsiteX0" fmla="*/ 1 w 1406525"/>
              <a:gd name="connsiteY0" fmla="*/ 641349 h 1408228"/>
              <a:gd name="connsiteX1" fmla="*/ 1 w 1406525"/>
              <a:gd name="connsiteY1" fmla="*/ 766881 h 1408228"/>
              <a:gd name="connsiteX2" fmla="*/ 107350 w 1406525"/>
              <a:gd name="connsiteY2" fmla="*/ 704115 h 1408228"/>
              <a:gd name="connsiteX3" fmla="*/ 37864 w 1406525"/>
              <a:gd name="connsiteY3" fmla="*/ 0 h 1408228"/>
              <a:gd name="connsiteX4" fmla="*/ 1368661 w 1406525"/>
              <a:gd name="connsiteY4" fmla="*/ 0 h 1408228"/>
              <a:gd name="connsiteX5" fmla="*/ 1406525 w 1406525"/>
              <a:gd name="connsiteY5" fmla="*/ 37864 h 1408228"/>
              <a:gd name="connsiteX6" fmla="*/ 1406525 w 1406525"/>
              <a:gd name="connsiteY6" fmla="*/ 1370364 h 1408228"/>
              <a:gd name="connsiteX7" fmla="*/ 1368661 w 1406525"/>
              <a:gd name="connsiteY7" fmla="*/ 1408228 h 1408228"/>
              <a:gd name="connsiteX8" fmla="*/ 37864 w 1406525"/>
              <a:gd name="connsiteY8" fmla="*/ 1408228 h 1408228"/>
              <a:gd name="connsiteX9" fmla="*/ 0 w 1406525"/>
              <a:gd name="connsiteY9" fmla="*/ 1370364 h 1408228"/>
              <a:gd name="connsiteX10" fmla="*/ 0 w 1406525"/>
              <a:gd name="connsiteY10" fmla="*/ 37864 h 1408228"/>
              <a:gd name="connsiteX11" fmla="*/ 37864 w 1406525"/>
              <a:gd name="connsiteY11" fmla="*/ 0 h 1408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06525" h="1408228">
                <a:moveTo>
                  <a:pt x="1" y="641349"/>
                </a:moveTo>
                <a:lnTo>
                  <a:pt x="1" y="766881"/>
                </a:lnTo>
                <a:lnTo>
                  <a:pt x="107350" y="704115"/>
                </a:lnTo>
                <a:close/>
                <a:moveTo>
                  <a:pt x="37864" y="0"/>
                </a:moveTo>
                <a:lnTo>
                  <a:pt x="1368661" y="0"/>
                </a:lnTo>
                <a:cubicBezTo>
                  <a:pt x="1389573" y="0"/>
                  <a:pt x="1406525" y="16952"/>
                  <a:pt x="1406525" y="37864"/>
                </a:cubicBezTo>
                <a:lnTo>
                  <a:pt x="1406525" y="1370364"/>
                </a:lnTo>
                <a:cubicBezTo>
                  <a:pt x="1406525" y="1391276"/>
                  <a:pt x="1389573" y="1408228"/>
                  <a:pt x="1368661" y="1408228"/>
                </a:cubicBezTo>
                <a:lnTo>
                  <a:pt x="37864" y="1408228"/>
                </a:lnTo>
                <a:cubicBezTo>
                  <a:pt x="16952" y="1408228"/>
                  <a:pt x="0" y="1391276"/>
                  <a:pt x="0" y="1370364"/>
                </a:cubicBezTo>
                <a:lnTo>
                  <a:pt x="0" y="37864"/>
                </a:lnTo>
                <a:cubicBezTo>
                  <a:pt x="0" y="16952"/>
                  <a:pt x="16952" y="0"/>
                  <a:pt x="3786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lIns="216000" tIns="216000" rIns="180000" bIns="144000">
            <a:noAutofit/>
          </a:bodyPr>
          <a:lstStyle>
            <a:lvl1pPr>
              <a:lnSpc>
                <a:spcPct val="110000"/>
              </a:lnSpc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ekst</a:t>
            </a:r>
          </a:p>
        </p:txBody>
      </p:sp>
      <p:sp>
        <p:nvSpPr>
          <p:cNvPr id="32" name="Tijdelijke aanduiding voor tekst 31">
            <a:extLst>
              <a:ext uri="{FF2B5EF4-FFF2-40B4-BE49-F238E27FC236}">
                <a16:creationId xmlns:a16="http://schemas.microsoft.com/office/drawing/2014/main" id="{0FAEBA7A-0CDB-4A0F-9956-64BCFFBF8CF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88963" y="3057410"/>
            <a:ext cx="1406525" cy="1408228"/>
          </a:xfrm>
          <a:custGeom>
            <a:avLst/>
            <a:gdLst>
              <a:gd name="connsiteX0" fmla="*/ 1406525 w 1406525"/>
              <a:gd name="connsiteY0" fmla="*/ 641349 h 1408228"/>
              <a:gd name="connsiteX1" fmla="*/ 1299176 w 1406525"/>
              <a:gd name="connsiteY1" fmla="*/ 704115 h 1408228"/>
              <a:gd name="connsiteX2" fmla="*/ 1406525 w 1406525"/>
              <a:gd name="connsiteY2" fmla="*/ 766881 h 1408228"/>
              <a:gd name="connsiteX3" fmla="*/ 37864 w 1406525"/>
              <a:gd name="connsiteY3" fmla="*/ 0 h 1408228"/>
              <a:gd name="connsiteX4" fmla="*/ 1368661 w 1406525"/>
              <a:gd name="connsiteY4" fmla="*/ 0 h 1408228"/>
              <a:gd name="connsiteX5" fmla="*/ 1406525 w 1406525"/>
              <a:gd name="connsiteY5" fmla="*/ 37864 h 1408228"/>
              <a:gd name="connsiteX6" fmla="*/ 1406525 w 1406525"/>
              <a:gd name="connsiteY6" fmla="*/ 1370364 h 1408228"/>
              <a:gd name="connsiteX7" fmla="*/ 1368661 w 1406525"/>
              <a:gd name="connsiteY7" fmla="*/ 1408228 h 1408228"/>
              <a:gd name="connsiteX8" fmla="*/ 37864 w 1406525"/>
              <a:gd name="connsiteY8" fmla="*/ 1408228 h 1408228"/>
              <a:gd name="connsiteX9" fmla="*/ 0 w 1406525"/>
              <a:gd name="connsiteY9" fmla="*/ 1370364 h 1408228"/>
              <a:gd name="connsiteX10" fmla="*/ 0 w 1406525"/>
              <a:gd name="connsiteY10" fmla="*/ 37864 h 1408228"/>
              <a:gd name="connsiteX11" fmla="*/ 37864 w 1406525"/>
              <a:gd name="connsiteY11" fmla="*/ 0 h 1408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06525" h="1408228">
                <a:moveTo>
                  <a:pt x="1406525" y="641349"/>
                </a:moveTo>
                <a:lnTo>
                  <a:pt x="1299176" y="704115"/>
                </a:lnTo>
                <a:lnTo>
                  <a:pt x="1406525" y="766881"/>
                </a:lnTo>
                <a:close/>
                <a:moveTo>
                  <a:pt x="37864" y="0"/>
                </a:moveTo>
                <a:lnTo>
                  <a:pt x="1368661" y="0"/>
                </a:lnTo>
                <a:cubicBezTo>
                  <a:pt x="1389573" y="0"/>
                  <a:pt x="1406525" y="16952"/>
                  <a:pt x="1406525" y="37864"/>
                </a:cubicBezTo>
                <a:lnTo>
                  <a:pt x="1406525" y="1370364"/>
                </a:lnTo>
                <a:cubicBezTo>
                  <a:pt x="1406525" y="1391276"/>
                  <a:pt x="1389573" y="1408228"/>
                  <a:pt x="1368661" y="1408228"/>
                </a:cubicBezTo>
                <a:lnTo>
                  <a:pt x="37864" y="1408228"/>
                </a:lnTo>
                <a:cubicBezTo>
                  <a:pt x="16952" y="1408228"/>
                  <a:pt x="0" y="1391276"/>
                  <a:pt x="0" y="1370364"/>
                </a:cubicBezTo>
                <a:lnTo>
                  <a:pt x="0" y="37864"/>
                </a:lnTo>
                <a:cubicBezTo>
                  <a:pt x="0" y="16952"/>
                  <a:pt x="16952" y="0"/>
                  <a:pt x="37864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lIns="216000" tIns="216000" rIns="180000" bIns="144000">
            <a:noAutofit/>
          </a:bodyPr>
          <a:lstStyle>
            <a:lvl1pPr>
              <a:lnSpc>
                <a:spcPct val="110000"/>
              </a:lnSpc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ekst</a:t>
            </a:r>
          </a:p>
        </p:txBody>
      </p:sp>
      <p:sp>
        <p:nvSpPr>
          <p:cNvPr id="31" name="Tijdelijke aanduiding voor tekst 30">
            <a:extLst>
              <a:ext uri="{FF2B5EF4-FFF2-40B4-BE49-F238E27FC236}">
                <a16:creationId xmlns:a16="http://schemas.microsoft.com/office/drawing/2014/main" id="{F642FE22-93BE-4823-8EE7-CE9CA2703AA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25662" y="3057410"/>
            <a:ext cx="1406525" cy="1408228"/>
          </a:xfrm>
          <a:custGeom>
            <a:avLst/>
            <a:gdLst>
              <a:gd name="connsiteX0" fmla="*/ 37864 w 1406525"/>
              <a:gd name="connsiteY0" fmla="*/ 0 h 1408228"/>
              <a:gd name="connsiteX1" fmla="*/ 640497 w 1406525"/>
              <a:gd name="connsiteY1" fmla="*/ 0 h 1408228"/>
              <a:gd name="connsiteX2" fmla="*/ 703263 w 1406525"/>
              <a:gd name="connsiteY2" fmla="*/ 107349 h 1408228"/>
              <a:gd name="connsiteX3" fmla="*/ 766029 w 1406525"/>
              <a:gd name="connsiteY3" fmla="*/ 0 h 1408228"/>
              <a:gd name="connsiteX4" fmla="*/ 1368661 w 1406525"/>
              <a:gd name="connsiteY4" fmla="*/ 0 h 1408228"/>
              <a:gd name="connsiteX5" fmla="*/ 1406525 w 1406525"/>
              <a:gd name="connsiteY5" fmla="*/ 37864 h 1408228"/>
              <a:gd name="connsiteX6" fmla="*/ 1406525 w 1406525"/>
              <a:gd name="connsiteY6" fmla="*/ 1370364 h 1408228"/>
              <a:gd name="connsiteX7" fmla="*/ 1368661 w 1406525"/>
              <a:gd name="connsiteY7" fmla="*/ 1408228 h 1408228"/>
              <a:gd name="connsiteX8" fmla="*/ 37864 w 1406525"/>
              <a:gd name="connsiteY8" fmla="*/ 1408228 h 1408228"/>
              <a:gd name="connsiteX9" fmla="*/ 0 w 1406525"/>
              <a:gd name="connsiteY9" fmla="*/ 1370364 h 1408228"/>
              <a:gd name="connsiteX10" fmla="*/ 0 w 1406525"/>
              <a:gd name="connsiteY10" fmla="*/ 37864 h 1408228"/>
              <a:gd name="connsiteX11" fmla="*/ 37864 w 1406525"/>
              <a:gd name="connsiteY11" fmla="*/ 0 h 1408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06525" h="1408228">
                <a:moveTo>
                  <a:pt x="37864" y="0"/>
                </a:moveTo>
                <a:lnTo>
                  <a:pt x="640497" y="0"/>
                </a:lnTo>
                <a:lnTo>
                  <a:pt x="703263" y="107349"/>
                </a:lnTo>
                <a:lnTo>
                  <a:pt x="766029" y="0"/>
                </a:lnTo>
                <a:lnTo>
                  <a:pt x="1368661" y="0"/>
                </a:lnTo>
                <a:cubicBezTo>
                  <a:pt x="1389573" y="0"/>
                  <a:pt x="1406525" y="16952"/>
                  <a:pt x="1406525" y="37864"/>
                </a:cubicBezTo>
                <a:lnTo>
                  <a:pt x="1406525" y="1370364"/>
                </a:lnTo>
                <a:cubicBezTo>
                  <a:pt x="1406525" y="1391276"/>
                  <a:pt x="1389573" y="1408228"/>
                  <a:pt x="1368661" y="1408228"/>
                </a:cubicBezTo>
                <a:lnTo>
                  <a:pt x="37864" y="1408228"/>
                </a:lnTo>
                <a:cubicBezTo>
                  <a:pt x="16952" y="1408228"/>
                  <a:pt x="0" y="1391276"/>
                  <a:pt x="0" y="1370364"/>
                </a:cubicBezTo>
                <a:lnTo>
                  <a:pt x="0" y="37864"/>
                </a:lnTo>
                <a:cubicBezTo>
                  <a:pt x="0" y="16952"/>
                  <a:pt x="16952" y="0"/>
                  <a:pt x="37864" y="0"/>
                </a:cubicBezTo>
                <a:close/>
              </a:path>
            </a:pathLst>
          </a:custGeom>
          <a:solidFill>
            <a:srgbClr val="76B82A"/>
          </a:solidFill>
        </p:spPr>
        <p:txBody>
          <a:bodyPr wrap="square" lIns="216000" tIns="216000" rIns="180000" bIns="144000">
            <a:noAutofit/>
          </a:bodyPr>
          <a:lstStyle>
            <a:lvl1pPr>
              <a:lnSpc>
                <a:spcPct val="110000"/>
              </a:lnSpc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Tekst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45D79F35-73D2-416E-8988-D6611B9FD6F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72389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88">
          <p15:clr>
            <a:srgbClr val="FBAE40"/>
          </p15:clr>
        </p15:guide>
        <p15:guide id="3" pos="2449">
          <p15:clr>
            <a:srgbClr val="FBAE40"/>
          </p15:clr>
        </p15:guide>
        <p15:guide id="4" pos="371">
          <p15:clr>
            <a:srgbClr val="FBAE40"/>
          </p15:clr>
        </p15:guide>
        <p15:guide id="5" orient="horz" pos="959">
          <p15:clr>
            <a:srgbClr val="FBAE40"/>
          </p15:clr>
        </p15:guide>
        <p15:guide id="6" orient="horz" pos="2813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453312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7" name="Tijdelijke aanduiding voor tekst 26">
            <a:extLst>
              <a:ext uri="{FF2B5EF4-FFF2-40B4-BE49-F238E27FC236}">
                <a16:creationId xmlns:a16="http://schemas.microsoft.com/office/drawing/2014/main" id="{D55FC9EF-F2A7-4241-95AC-7741C2E357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7F73FC30-3860-4A7B-BFFE-712C12EA02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DD10886D-E504-461F-883C-B68B1F9A4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35906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pa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453312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0" name="Tijdelijke aanduiding voor tekst 26">
            <a:extLst>
              <a:ext uri="{FF2B5EF4-FFF2-40B4-BE49-F238E27FC236}">
                <a16:creationId xmlns:a16="http://schemas.microsoft.com/office/drawing/2014/main" id="{C1B30B82-D873-4FCB-98F0-C6EE50FAA8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51A3EA87-7B1A-446F-9409-8D5327889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EF13D52-0CC9-496A-B9C5-E57F5CCD4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070000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453312" cy="29084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0" name="Tijdelijke aanduiding voor tekst 26">
            <a:extLst>
              <a:ext uri="{FF2B5EF4-FFF2-40B4-BE49-F238E27FC236}">
                <a16:creationId xmlns:a16="http://schemas.microsoft.com/office/drawing/2014/main" id="{0E2B96D4-B527-4913-9019-C27CF73DAA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358F5A27-50CD-4293-A820-F2BA54F3AB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F3A05EA4-6B03-4F14-800A-AEC76A2C4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24974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ora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0" name="Tijdelijke aanduiding voor tekst 26">
            <a:extLst>
              <a:ext uri="{FF2B5EF4-FFF2-40B4-BE49-F238E27FC236}">
                <a16:creationId xmlns:a16="http://schemas.microsoft.com/office/drawing/2014/main" id="{35056B2C-99AD-4969-8B10-63F301207F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C34C0A61-8D65-44CA-BB9A-ACFD743DAA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5CD51441-A0A2-4590-9B80-A73478AF7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28858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2-kolo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078EBC3-1397-4D6E-959E-3FA0FC9A05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384300"/>
            <a:ext cx="7812088" cy="3275013"/>
          </a:xfrm>
        </p:spPr>
        <p:txBody>
          <a:bodyPr numCol="2" spcCol="360000"/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  <a:lvl2pPr marL="182563" indent="-179388">
              <a:defRPr sz="1100">
                <a:solidFill>
                  <a:schemeClr val="bg1"/>
                </a:solidFill>
              </a:defRPr>
            </a:lvl2pPr>
            <a:lvl3pPr marL="358775" indent="-179388">
              <a:defRPr sz="1100">
                <a:solidFill>
                  <a:schemeClr val="bg1"/>
                </a:solidFill>
              </a:defRPr>
            </a:lvl3pPr>
            <a:lvl4pPr marL="541338" indent="-179388">
              <a:defRPr sz="1100">
                <a:solidFill>
                  <a:schemeClr val="bg1"/>
                </a:solidFill>
              </a:defRPr>
            </a:lvl4pPr>
            <a:lvl5pPr marL="717550" indent="-179388"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 over 2 kolomm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812088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2" name="Tijdelijke aanduiding voor tekst 26">
            <a:extLst>
              <a:ext uri="{FF2B5EF4-FFF2-40B4-BE49-F238E27FC236}">
                <a16:creationId xmlns:a16="http://schemas.microsoft.com/office/drawing/2014/main" id="{4AEE6231-94DD-4F51-ABB6-19E17957E7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5853EB38-99D5-4C24-81C3-C2F65F8F9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061547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5465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938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FB1D0512-7F3D-4A1A-9FE9-15D7D2084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36A0B97C-7579-4769-9DC2-D3CDC52E9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9975" y="635511"/>
            <a:ext cx="2858400" cy="2516400"/>
          </a:xfrm>
          <a:prstGeom prst="roundRect">
            <a:avLst>
              <a:gd name="adj" fmla="val 2473"/>
            </a:avLst>
          </a:prstGeom>
          <a:solidFill>
            <a:schemeClr val="accent6"/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258F74A5-88C3-488F-A72F-AA4C9ED655E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844" y="4220583"/>
            <a:ext cx="1156080" cy="710987"/>
          </a:xfrm>
          <a:prstGeom prst="rect">
            <a:avLst/>
          </a:prstGeom>
        </p:spPr>
      </p:pic>
      <p:sp>
        <p:nvSpPr>
          <p:cNvPr id="16" name="Ondertitel 15">
            <a:extLst>
              <a:ext uri="{FF2B5EF4-FFF2-40B4-BE49-F238E27FC236}">
                <a16:creationId xmlns:a16="http://schemas.microsoft.com/office/drawing/2014/main" id="{551F7264-8CEE-4D21-AE77-FE5000376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04407" y="2647086"/>
            <a:ext cx="3128905" cy="1010514"/>
          </a:xfrm>
          <a:custGeom>
            <a:avLst/>
            <a:gdLst>
              <a:gd name="connsiteX0" fmla="*/ 50025 w 3128905"/>
              <a:gd name="connsiteY0" fmla="*/ 0 h 1010514"/>
              <a:gd name="connsiteX1" fmla="*/ 1497158 w 3128905"/>
              <a:gd name="connsiteY1" fmla="*/ 0 h 1010514"/>
              <a:gd name="connsiteX2" fmla="*/ 1563857 w 3128905"/>
              <a:gd name="connsiteY2" fmla="*/ 106307 h 1010514"/>
              <a:gd name="connsiteX3" fmla="*/ 1631747 w 3128905"/>
              <a:gd name="connsiteY3" fmla="*/ 0 h 1010514"/>
              <a:gd name="connsiteX4" fmla="*/ 3077690 w 3128905"/>
              <a:gd name="connsiteY4" fmla="*/ 0 h 1010514"/>
              <a:gd name="connsiteX5" fmla="*/ 3128905 w 3128905"/>
              <a:gd name="connsiteY5" fmla="*/ 50167 h 1010514"/>
              <a:gd name="connsiteX6" fmla="*/ 3128905 w 3128905"/>
              <a:gd name="connsiteY6" fmla="*/ 960347 h 1010514"/>
              <a:gd name="connsiteX7" fmla="*/ 3077690 w 3128905"/>
              <a:gd name="connsiteY7" fmla="*/ 1010514 h 1010514"/>
              <a:gd name="connsiteX8" fmla="*/ 50025 w 3128905"/>
              <a:gd name="connsiteY8" fmla="*/ 1010514 h 1010514"/>
              <a:gd name="connsiteX9" fmla="*/ 0 w 3128905"/>
              <a:gd name="connsiteY9" fmla="*/ 960347 h 1010514"/>
              <a:gd name="connsiteX10" fmla="*/ 0 w 3128905"/>
              <a:gd name="connsiteY10" fmla="*/ 50167 h 1010514"/>
              <a:gd name="connsiteX11" fmla="*/ 50025 w 3128905"/>
              <a:gd name="connsiteY11" fmla="*/ 0 h 101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128905" h="1010514">
                <a:moveTo>
                  <a:pt x="50025" y="0"/>
                </a:moveTo>
                <a:cubicBezTo>
                  <a:pt x="50025" y="0"/>
                  <a:pt x="50025" y="0"/>
                  <a:pt x="1497158" y="0"/>
                </a:cubicBezTo>
                <a:cubicBezTo>
                  <a:pt x="1497158" y="0"/>
                  <a:pt x="1497158" y="0"/>
                  <a:pt x="1563857" y="106307"/>
                </a:cubicBezTo>
                <a:cubicBezTo>
                  <a:pt x="1563857" y="106307"/>
                  <a:pt x="1563857" y="106307"/>
                  <a:pt x="1631747" y="0"/>
                </a:cubicBezTo>
                <a:cubicBezTo>
                  <a:pt x="1631747" y="0"/>
                  <a:pt x="1631747" y="0"/>
                  <a:pt x="3077690" y="0"/>
                </a:cubicBezTo>
                <a:cubicBezTo>
                  <a:pt x="3128905" y="0"/>
                  <a:pt x="3128905" y="50167"/>
                  <a:pt x="3128905" y="50167"/>
                </a:cubicBezTo>
                <a:cubicBezTo>
                  <a:pt x="3128905" y="50167"/>
                  <a:pt x="3128905" y="50167"/>
                  <a:pt x="3128905" y="960347"/>
                </a:cubicBezTo>
                <a:cubicBezTo>
                  <a:pt x="3128905" y="1010514"/>
                  <a:pt x="3077690" y="1010514"/>
                  <a:pt x="3077690" y="1010514"/>
                </a:cubicBezTo>
                <a:cubicBezTo>
                  <a:pt x="3077690" y="1010514"/>
                  <a:pt x="3077690" y="1010514"/>
                  <a:pt x="50025" y="1010514"/>
                </a:cubicBezTo>
                <a:cubicBezTo>
                  <a:pt x="0" y="1010514"/>
                  <a:pt x="0" y="960347"/>
                  <a:pt x="0" y="960347"/>
                </a:cubicBezTo>
                <a:cubicBezTo>
                  <a:pt x="0" y="960347"/>
                  <a:pt x="0" y="960347"/>
                  <a:pt x="0" y="50167"/>
                </a:cubicBezTo>
                <a:cubicBezTo>
                  <a:pt x="0" y="0"/>
                  <a:pt x="50025" y="0"/>
                  <a:pt x="50025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vert="horz" wrap="square" lIns="144000" tIns="180000" rIns="0" bIns="72000" rtlCol="0" anchor="t" anchorCtr="0">
            <a:noAutofit/>
          </a:bodyPr>
          <a:lstStyle>
            <a:lvl1pPr>
              <a:defRPr lang="en-US" sz="8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10000"/>
              </a:lnSpc>
            </a:pPr>
            <a:r>
              <a:rPr lang="nl-NL" dirty="0"/>
              <a:t>Tek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56203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4-kolo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402201"/>
            <a:ext cx="7812088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2" name="Tijdelijke aanduiding voor tekst 26">
            <a:extLst>
              <a:ext uri="{FF2B5EF4-FFF2-40B4-BE49-F238E27FC236}">
                <a16:creationId xmlns:a16="http://schemas.microsoft.com/office/drawing/2014/main" id="{4AEE6231-94DD-4F51-ABB6-19E17957E7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402201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078EBC3-1397-4D6E-959E-3FA0FC9A05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384300"/>
            <a:ext cx="7812088" cy="3275013"/>
          </a:xfrm>
        </p:spPr>
        <p:txBody>
          <a:bodyPr numCol="4" spcCol="360000"/>
          <a:lstStyle>
            <a:lvl1pPr marL="0" indent="0">
              <a:lnSpc>
                <a:spcPct val="110000"/>
              </a:lnSpc>
              <a:buNone/>
              <a:defRPr sz="1000">
                <a:solidFill>
                  <a:schemeClr val="bg1"/>
                </a:solidFill>
              </a:defRPr>
            </a:lvl1pPr>
            <a:lvl2pPr marL="182563" indent="-179388">
              <a:lnSpc>
                <a:spcPct val="110000"/>
              </a:lnSpc>
              <a:defRPr sz="1000">
                <a:solidFill>
                  <a:schemeClr val="bg1"/>
                </a:solidFill>
              </a:defRPr>
            </a:lvl2pPr>
            <a:lvl3pPr marL="358775" indent="-179388">
              <a:lnSpc>
                <a:spcPct val="110000"/>
              </a:lnSpc>
              <a:defRPr sz="1000">
                <a:solidFill>
                  <a:schemeClr val="bg1"/>
                </a:solidFill>
              </a:defRPr>
            </a:lvl3pPr>
            <a:lvl4pPr marL="541338" indent="-179388">
              <a:lnSpc>
                <a:spcPct val="110000"/>
              </a:lnSpc>
              <a:defRPr sz="1000">
                <a:solidFill>
                  <a:schemeClr val="bg1"/>
                </a:solidFill>
              </a:defRPr>
            </a:lvl4pPr>
            <a:lvl5pPr marL="717550" indent="-179388">
              <a:lnSpc>
                <a:spcPct val="110000"/>
              </a:lnSpc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 over 4 kolomm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AC703644-42FB-46DE-A766-7C8D1F25C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362650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5465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-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7F73FC30-3860-4A7B-BFFE-712C12EA02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22" name="Tijdelijke aanduiding voor tekst 26">
            <a:extLst>
              <a:ext uri="{FF2B5EF4-FFF2-40B4-BE49-F238E27FC236}">
                <a16:creationId xmlns:a16="http://schemas.microsoft.com/office/drawing/2014/main" id="{2F385CBA-388B-4167-BFC4-437D5C24B7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3" name="Tijdelijke aanduiding voor tekst 26">
            <a:extLst>
              <a:ext uri="{FF2B5EF4-FFF2-40B4-BE49-F238E27FC236}">
                <a16:creationId xmlns:a16="http://schemas.microsoft.com/office/drawing/2014/main" id="{46F0AC6E-C3BE-4722-81C4-F4AC202237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831F8A1-07AF-418A-83E9-B6ECF7F9E7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491231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- pa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51A3EA87-7B1A-446F-9409-8D5327889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7" name="Titel 19">
            <a:extLst>
              <a:ext uri="{FF2B5EF4-FFF2-40B4-BE49-F238E27FC236}">
                <a16:creationId xmlns:a16="http://schemas.microsoft.com/office/drawing/2014/main" id="{24D76B80-8430-41FB-8FC3-E1686DB089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8" name="Tijdelijke aanduiding voor tekst 26">
            <a:extLst>
              <a:ext uri="{FF2B5EF4-FFF2-40B4-BE49-F238E27FC236}">
                <a16:creationId xmlns:a16="http://schemas.microsoft.com/office/drawing/2014/main" id="{C03B06F7-0768-4506-9B6E-93AD8348A6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3F970D26-4655-4CE8-A256-D09FBB0953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CEDF884-265F-4227-BB57-A6EBDB0633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063134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-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358F5A27-50CD-4293-A820-F2BA54F3AB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7" name="Titel 19">
            <a:extLst>
              <a:ext uri="{FF2B5EF4-FFF2-40B4-BE49-F238E27FC236}">
                <a16:creationId xmlns:a16="http://schemas.microsoft.com/office/drawing/2014/main" id="{A1C65510-C9C4-4263-B1D6-BA3D2CC920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8" name="Tijdelijke aanduiding voor tekst 26">
            <a:extLst>
              <a:ext uri="{FF2B5EF4-FFF2-40B4-BE49-F238E27FC236}">
                <a16:creationId xmlns:a16="http://schemas.microsoft.com/office/drawing/2014/main" id="{4533D43D-3F8E-4088-93C4-F35C768F8D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942DD3BA-4C8E-4DDF-8E3D-499F975370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0C0858F2-BF96-4BC0-83E2-0EECD0AA5DA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41490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afbeeldingen en tekst -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358F5A27-50CD-4293-A820-F2BA54F3AB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08174" y="1508774"/>
            <a:ext cx="5616575" cy="714665"/>
          </a:xfrm>
        </p:spPr>
        <p:txBody>
          <a:bodyPr anchor="ctr" anchorCtr="0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7" name="Titel 19">
            <a:extLst>
              <a:ext uri="{FF2B5EF4-FFF2-40B4-BE49-F238E27FC236}">
                <a16:creationId xmlns:a16="http://schemas.microsoft.com/office/drawing/2014/main" id="{A1C65510-C9C4-4263-B1D6-BA3D2CC920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8" name="Tijdelijke aanduiding voor tekst 26">
            <a:extLst>
              <a:ext uri="{FF2B5EF4-FFF2-40B4-BE49-F238E27FC236}">
                <a16:creationId xmlns:a16="http://schemas.microsoft.com/office/drawing/2014/main" id="{4533D43D-3F8E-4088-93C4-F35C768F8D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942DD3BA-4C8E-4DDF-8E3D-499F975370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77E285DC-B84F-4F53-83A9-CB7D730DA23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4388" y="1384300"/>
            <a:ext cx="945356" cy="963613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4" name="Tijdelijke aanduiding voor afbeelding 2">
            <a:extLst>
              <a:ext uri="{FF2B5EF4-FFF2-40B4-BE49-F238E27FC236}">
                <a16:creationId xmlns:a16="http://schemas.microsoft.com/office/drawing/2014/main" id="{7CECB0D6-0345-41D3-A48B-7A8DF1AD8A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4388" y="2527300"/>
            <a:ext cx="945356" cy="963613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16" name="Tijdelijke aanduiding voor afbeelding 2">
            <a:extLst>
              <a:ext uri="{FF2B5EF4-FFF2-40B4-BE49-F238E27FC236}">
                <a16:creationId xmlns:a16="http://schemas.microsoft.com/office/drawing/2014/main" id="{B221E134-CD9F-4DA4-AE10-084252BB7A4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4388" y="3658870"/>
            <a:ext cx="945356" cy="963613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20" name="Tijdelijke aanduiding voor tekst 14">
            <a:extLst>
              <a:ext uri="{FF2B5EF4-FFF2-40B4-BE49-F238E27FC236}">
                <a16:creationId xmlns:a16="http://schemas.microsoft.com/office/drawing/2014/main" id="{1D59B75A-9E85-446C-82A8-34EEF9FD03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08174" y="2651774"/>
            <a:ext cx="5616575" cy="714665"/>
          </a:xfrm>
        </p:spPr>
        <p:txBody>
          <a:bodyPr anchor="ctr" anchorCtr="0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22" name="Tijdelijke aanduiding voor tekst 14">
            <a:extLst>
              <a:ext uri="{FF2B5EF4-FFF2-40B4-BE49-F238E27FC236}">
                <a16:creationId xmlns:a16="http://schemas.microsoft.com/office/drawing/2014/main" id="{C492B85D-EEAD-413B-86FF-E0674C17F86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08174" y="3783344"/>
            <a:ext cx="5616575" cy="714665"/>
          </a:xfrm>
        </p:spPr>
        <p:txBody>
          <a:bodyPr anchor="ctr" anchorCtr="0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592F51F5-57E4-4793-A8F4-AAF2908F680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58742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  <p15:guide id="7" pos="120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- ora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1" name="Tijdelijke aanduiding voor tekst 14">
            <a:extLst>
              <a:ext uri="{FF2B5EF4-FFF2-40B4-BE49-F238E27FC236}">
                <a16:creationId xmlns:a16="http://schemas.microsoft.com/office/drawing/2014/main" id="{C34C0A61-8D65-44CA-BB9A-ACFD743DAA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7" name="Titel 19">
            <a:extLst>
              <a:ext uri="{FF2B5EF4-FFF2-40B4-BE49-F238E27FC236}">
                <a16:creationId xmlns:a16="http://schemas.microsoft.com/office/drawing/2014/main" id="{3F3443E5-0C38-4B93-9042-99B8181584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8" name="Tijdelijke aanduiding voor tekst 26">
            <a:extLst>
              <a:ext uri="{FF2B5EF4-FFF2-40B4-BE49-F238E27FC236}">
                <a16:creationId xmlns:a16="http://schemas.microsoft.com/office/drawing/2014/main" id="{712F1EE6-52F3-41F4-9EB8-23B80FDB38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39D3BBB8-DB64-432B-A655-78F844F175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4EDA13CC-8E91-4010-8AEB-C838EDEB2D4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699824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afbeeldingen en tekst - ora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6A37AED4-3743-48B4-81B0-70563AB8AFDC}"/>
              </a:ext>
            </a:extLst>
          </p:cNvPr>
          <p:cNvSpPr>
            <a:spLocks/>
          </p:cNvSpPr>
          <p:nvPr userDrawn="1"/>
        </p:nvSpPr>
        <p:spPr bwMode="auto">
          <a:xfrm>
            <a:off x="215844" y="1064626"/>
            <a:ext cx="8718605" cy="3870394"/>
          </a:xfrm>
          <a:custGeom>
            <a:avLst/>
            <a:gdLst>
              <a:gd name="T0" fmla="*/ 40 w 7320"/>
              <a:gd name="T1" fmla="*/ 3240 h 3240"/>
              <a:gd name="T2" fmla="*/ 0 w 7320"/>
              <a:gd name="T3" fmla="*/ 3200 h 3240"/>
              <a:gd name="T4" fmla="*/ 0 w 7320"/>
              <a:gd name="T5" fmla="*/ 40 h 3240"/>
              <a:gd name="T6" fmla="*/ 40 w 7320"/>
              <a:gd name="T7" fmla="*/ 0 h 3240"/>
              <a:gd name="T8" fmla="*/ 7280 w 7320"/>
              <a:gd name="T9" fmla="*/ 0 h 3240"/>
              <a:gd name="T10" fmla="*/ 7320 w 7320"/>
              <a:gd name="T11" fmla="*/ 40 h 3240"/>
              <a:gd name="T12" fmla="*/ 7320 w 7320"/>
              <a:gd name="T13" fmla="*/ 3200 h 3240"/>
              <a:gd name="T14" fmla="*/ 7280 w 7320"/>
              <a:gd name="T15" fmla="*/ 3240 h 3240"/>
              <a:gd name="T16" fmla="*/ 40 w 7320"/>
              <a:gd name="T17" fmla="*/ 3240 h 3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20" h="3240">
                <a:moveTo>
                  <a:pt x="40" y="3240"/>
                </a:moveTo>
                <a:cubicBezTo>
                  <a:pt x="40" y="3240"/>
                  <a:pt x="0" y="3240"/>
                  <a:pt x="0" y="320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40"/>
                  <a:pt x="0" y="0"/>
                  <a:pt x="40" y="0"/>
                </a:cubicBezTo>
                <a:cubicBezTo>
                  <a:pt x="7280" y="0"/>
                  <a:pt x="7280" y="0"/>
                  <a:pt x="7280" y="0"/>
                </a:cubicBezTo>
                <a:cubicBezTo>
                  <a:pt x="7280" y="0"/>
                  <a:pt x="7320" y="0"/>
                  <a:pt x="7320" y="40"/>
                </a:cubicBezTo>
                <a:cubicBezTo>
                  <a:pt x="7320" y="3200"/>
                  <a:pt x="7320" y="3200"/>
                  <a:pt x="7320" y="3200"/>
                </a:cubicBezTo>
                <a:cubicBezTo>
                  <a:pt x="7320" y="3200"/>
                  <a:pt x="7320" y="3240"/>
                  <a:pt x="7280" y="3240"/>
                </a:cubicBezTo>
                <a:lnTo>
                  <a:pt x="40" y="324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7" name="Titel 19">
            <a:extLst>
              <a:ext uri="{FF2B5EF4-FFF2-40B4-BE49-F238E27FC236}">
                <a16:creationId xmlns:a16="http://schemas.microsoft.com/office/drawing/2014/main" id="{3F3443E5-0C38-4B93-9042-99B8181584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8" name="Tijdelijke aanduiding voor tekst 26">
            <a:extLst>
              <a:ext uri="{FF2B5EF4-FFF2-40B4-BE49-F238E27FC236}">
                <a16:creationId xmlns:a16="http://schemas.microsoft.com/office/drawing/2014/main" id="{712F1EE6-52F3-41F4-9EB8-23B80FDB38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39D3BBB8-DB64-432B-A655-78F844F175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15" name="Tijdelijke aanduiding voor afbeelding 2">
            <a:extLst>
              <a:ext uri="{FF2B5EF4-FFF2-40B4-BE49-F238E27FC236}">
                <a16:creationId xmlns:a16="http://schemas.microsoft.com/office/drawing/2014/main" id="{E20E4FE1-3CA7-4633-8C12-EFE26A1852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406923" y="1657350"/>
            <a:ext cx="945356" cy="946149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20" name="Tijdelijke aanduiding voor afbeelding 2">
            <a:extLst>
              <a:ext uri="{FF2B5EF4-FFF2-40B4-BE49-F238E27FC236}">
                <a16:creationId xmlns:a16="http://schemas.microsoft.com/office/drawing/2014/main" id="{4DB2152A-5BA4-4A60-BEFA-BB2F20E6ED2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04023" y="1657350"/>
            <a:ext cx="945356" cy="946149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22" name="Tijdelijke aanduiding voor afbeelding 2">
            <a:extLst>
              <a:ext uri="{FF2B5EF4-FFF2-40B4-BE49-F238E27FC236}">
                <a16:creationId xmlns:a16="http://schemas.microsoft.com/office/drawing/2014/main" id="{23FDA64A-3A48-4910-8F67-936E76FCAA1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01123" y="1657350"/>
            <a:ext cx="945356" cy="946149"/>
          </a:xfrm>
          <a:prstGeom prst="roundRect">
            <a:avLst>
              <a:gd name="adj" fmla="val 2813"/>
            </a:avLst>
          </a:prstGeom>
          <a:solidFill>
            <a:schemeClr val="bg1"/>
          </a:solidFill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Afbeelding</a:t>
            </a:r>
          </a:p>
        </p:txBody>
      </p:sp>
      <p:sp>
        <p:nvSpPr>
          <p:cNvPr id="23" name="Tijdelijke aanduiding voor tekst 14">
            <a:extLst>
              <a:ext uri="{FF2B5EF4-FFF2-40B4-BE49-F238E27FC236}">
                <a16:creationId xmlns:a16="http://schemas.microsoft.com/office/drawing/2014/main" id="{FF4CB879-9A9D-4DDD-9165-3AC6E12373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3601" y="2797824"/>
            <a:ext cx="2032000" cy="1645589"/>
          </a:xfrm>
        </p:spPr>
        <p:txBody>
          <a:bodyPr anchor="t" anchorCtr="0"/>
          <a:lstStyle>
            <a:lvl1pPr algn="ctr">
              <a:defRPr sz="1100">
                <a:solidFill>
                  <a:schemeClr val="bg1"/>
                </a:solidFill>
              </a:defRPr>
            </a:lvl1pPr>
            <a:lvl2pPr algn="ctr"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24" name="Tijdelijke aanduiding voor tekst 14">
            <a:extLst>
              <a:ext uri="{FF2B5EF4-FFF2-40B4-BE49-F238E27FC236}">
                <a16:creationId xmlns:a16="http://schemas.microsoft.com/office/drawing/2014/main" id="{76172B70-2B21-472B-9AA3-8338F7E102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60701" y="2797824"/>
            <a:ext cx="2032000" cy="1645589"/>
          </a:xfrm>
        </p:spPr>
        <p:txBody>
          <a:bodyPr anchor="t" anchorCtr="0"/>
          <a:lstStyle>
            <a:lvl1pPr algn="ctr">
              <a:defRPr sz="1100">
                <a:solidFill>
                  <a:schemeClr val="bg1"/>
                </a:solidFill>
              </a:defRPr>
            </a:lvl1pPr>
            <a:lvl2pPr algn="ctr"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25" name="Tijdelijke aanduiding voor tekst 14">
            <a:extLst>
              <a:ext uri="{FF2B5EF4-FFF2-40B4-BE49-F238E27FC236}">
                <a16:creationId xmlns:a16="http://schemas.microsoft.com/office/drawing/2014/main" id="{DF053D26-ABEE-4CC1-B09B-42C967017B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57801" y="2797824"/>
            <a:ext cx="2032000" cy="1645589"/>
          </a:xfrm>
        </p:spPr>
        <p:txBody>
          <a:bodyPr anchor="t" anchorCtr="0"/>
          <a:lstStyle>
            <a:lvl1pPr algn="ctr">
              <a:defRPr sz="1100">
                <a:solidFill>
                  <a:schemeClr val="bg1"/>
                </a:solidFill>
              </a:defRPr>
            </a:lvl1pPr>
            <a:lvl2pPr algn="ctr">
              <a:defRPr sz="105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D7699902-590A-4473-A80D-1118BD5A64F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46300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1044">
          <p15:clr>
            <a:srgbClr val="FBAE40"/>
          </p15:clr>
        </p15:guide>
        <p15:guide id="6" orient="horz" pos="2799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turquoise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A56376C-8546-4CB9-B196-D3BCEEA9C91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15844" y="211610"/>
            <a:ext cx="8719200" cy="4723410"/>
          </a:xfrm>
          <a:custGeom>
            <a:avLst/>
            <a:gdLst>
              <a:gd name="T0" fmla="*/ 40 w 7332"/>
              <a:gd name="T1" fmla="*/ 0 h 3960"/>
              <a:gd name="T2" fmla="*/ 0 w 7332"/>
              <a:gd name="T3" fmla="*/ 40 h 3960"/>
              <a:gd name="T4" fmla="*/ 0 w 7332"/>
              <a:gd name="T5" fmla="*/ 3920 h 3960"/>
              <a:gd name="T6" fmla="*/ 40 w 7332"/>
              <a:gd name="T7" fmla="*/ 3960 h 3960"/>
              <a:gd name="T8" fmla="*/ 7292 w 7332"/>
              <a:gd name="T9" fmla="*/ 3960 h 3960"/>
              <a:gd name="T10" fmla="*/ 7332 w 7332"/>
              <a:gd name="T11" fmla="*/ 3920 h 3960"/>
              <a:gd name="T12" fmla="*/ 7332 w 7332"/>
              <a:gd name="T13" fmla="*/ 40 h 3960"/>
              <a:gd name="T14" fmla="*/ 7292 w 7332"/>
              <a:gd name="T15" fmla="*/ 0 h 3960"/>
              <a:gd name="T16" fmla="*/ 40 w 7332"/>
              <a:gd name="T17" fmla="*/ 0 h 3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32" h="3960">
                <a:moveTo>
                  <a:pt x="40" y="0"/>
                </a:moveTo>
                <a:cubicBezTo>
                  <a:pt x="40" y="0"/>
                  <a:pt x="0" y="0"/>
                  <a:pt x="0" y="40"/>
                </a:cubicBezTo>
                <a:cubicBezTo>
                  <a:pt x="0" y="3920"/>
                  <a:pt x="0" y="3920"/>
                  <a:pt x="0" y="3920"/>
                </a:cubicBezTo>
                <a:cubicBezTo>
                  <a:pt x="0" y="3920"/>
                  <a:pt x="0" y="3960"/>
                  <a:pt x="40" y="3960"/>
                </a:cubicBezTo>
                <a:cubicBezTo>
                  <a:pt x="7292" y="3960"/>
                  <a:pt x="7292" y="3960"/>
                  <a:pt x="7292" y="3960"/>
                </a:cubicBezTo>
                <a:cubicBezTo>
                  <a:pt x="7292" y="3960"/>
                  <a:pt x="7332" y="3960"/>
                  <a:pt x="7332" y="3920"/>
                </a:cubicBezTo>
                <a:cubicBezTo>
                  <a:pt x="7332" y="40"/>
                  <a:pt x="7332" y="40"/>
                  <a:pt x="7332" y="40"/>
                </a:cubicBezTo>
                <a:cubicBezTo>
                  <a:pt x="7332" y="40"/>
                  <a:pt x="7332" y="0"/>
                  <a:pt x="7292" y="0"/>
                </a:cubicBezTo>
                <a:lnTo>
                  <a:pt x="40" y="0"/>
                </a:lnTo>
                <a:close/>
              </a:path>
            </a:pathLst>
          </a:custGeom>
          <a:solidFill>
            <a:srgbClr val="008F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789746"/>
            <a:ext cx="7453312" cy="2908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7" name="Tijdelijke aanduiding voor tekst 26">
            <a:extLst>
              <a:ext uri="{FF2B5EF4-FFF2-40B4-BE49-F238E27FC236}">
                <a16:creationId xmlns:a16="http://schemas.microsoft.com/office/drawing/2014/main" id="{D55FC9EF-F2A7-4241-95AC-7741C2E357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90306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9ADE765E-0E2D-4789-9266-AD9B8991BF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6" name="Tijdelijke aanduiding voor tekst 26">
            <a:extLst>
              <a:ext uri="{FF2B5EF4-FFF2-40B4-BE49-F238E27FC236}">
                <a16:creationId xmlns:a16="http://schemas.microsoft.com/office/drawing/2014/main" id="{CE71D82A-0F0C-463B-A49D-229CA0A7A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490306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014F5019-EFF2-4A4F-B83A-DBFB9CE3B54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709768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paars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A56376C-8546-4CB9-B196-D3BCEEA9C91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15844" y="211610"/>
            <a:ext cx="8719200" cy="4723410"/>
          </a:xfrm>
          <a:custGeom>
            <a:avLst/>
            <a:gdLst>
              <a:gd name="T0" fmla="*/ 40 w 7332"/>
              <a:gd name="T1" fmla="*/ 0 h 3960"/>
              <a:gd name="T2" fmla="*/ 0 w 7332"/>
              <a:gd name="T3" fmla="*/ 40 h 3960"/>
              <a:gd name="T4" fmla="*/ 0 w 7332"/>
              <a:gd name="T5" fmla="*/ 3920 h 3960"/>
              <a:gd name="T6" fmla="*/ 40 w 7332"/>
              <a:gd name="T7" fmla="*/ 3960 h 3960"/>
              <a:gd name="T8" fmla="*/ 7292 w 7332"/>
              <a:gd name="T9" fmla="*/ 3960 h 3960"/>
              <a:gd name="T10" fmla="*/ 7332 w 7332"/>
              <a:gd name="T11" fmla="*/ 3920 h 3960"/>
              <a:gd name="T12" fmla="*/ 7332 w 7332"/>
              <a:gd name="T13" fmla="*/ 40 h 3960"/>
              <a:gd name="T14" fmla="*/ 7292 w 7332"/>
              <a:gd name="T15" fmla="*/ 0 h 3960"/>
              <a:gd name="T16" fmla="*/ 40 w 7332"/>
              <a:gd name="T17" fmla="*/ 0 h 3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32" h="3960">
                <a:moveTo>
                  <a:pt x="40" y="0"/>
                </a:moveTo>
                <a:cubicBezTo>
                  <a:pt x="40" y="0"/>
                  <a:pt x="0" y="0"/>
                  <a:pt x="0" y="40"/>
                </a:cubicBezTo>
                <a:cubicBezTo>
                  <a:pt x="0" y="3920"/>
                  <a:pt x="0" y="3920"/>
                  <a:pt x="0" y="3920"/>
                </a:cubicBezTo>
                <a:cubicBezTo>
                  <a:pt x="0" y="3920"/>
                  <a:pt x="0" y="3960"/>
                  <a:pt x="40" y="3960"/>
                </a:cubicBezTo>
                <a:cubicBezTo>
                  <a:pt x="7292" y="3960"/>
                  <a:pt x="7292" y="3960"/>
                  <a:pt x="7292" y="3960"/>
                </a:cubicBezTo>
                <a:cubicBezTo>
                  <a:pt x="7292" y="3960"/>
                  <a:pt x="7332" y="3960"/>
                  <a:pt x="7332" y="3920"/>
                </a:cubicBezTo>
                <a:cubicBezTo>
                  <a:pt x="7332" y="40"/>
                  <a:pt x="7332" y="40"/>
                  <a:pt x="7332" y="40"/>
                </a:cubicBezTo>
                <a:cubicBezTo>
                  <a:pt x="7332" y="40"/>
                  <a:pt x="7332" y="0"/>
                  <a:pt x="7292" y="0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9ADE765E-0E2D-4789-9266-AD9B8991BF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617076"/>
            <a:ext cx="7453312" cy="2908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ED8CBB60-F0B8-4575-A3B7-90CC779A71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617076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835E68C3-22DF-40C0-BC53-80BBC26EDA4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006476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groen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A56376C-8546-4CB9-B196-D3BCEEA9C91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15844" y="211610"/>
            <a:ext cx="8719200" cy="4723410"/>
          </a:xfrm>
          <a:custGeom>
            <a:avLst/>
            <a:gdLst>
              <a:gd name="T0" fmla="*/ 40 w 7332"/>
              <a:gd name="T1" fmla="*/ 0 h 3960"/>
              <a:gd name="T2" fmla="*/ 0 w 7332"/>
              <a:gd name="T3" fmla="*/ 40 h 3960"/>
              <a:gd name="T4" fmla="*/ 0 w 7332"/>
              <a:gd name="T5" fmla="*/ 3920 h 3960"/>
              <a:gd name="T6" fmla="*/ 40 w 7332"/>
              <a:gd name="T7" fmla="*/ 3960 h 3960"/>
              <a:gd name="T8" fmla="*/ 7292 w 7332"/>
              <a:gd name="T9" fmla="*/ 3960 h 3960"/>
              <a:gd name="T10" fmla="*/ 7332 w 7332"/>
              <a:gd name="T11" fmla="*/ 3920 h 3960"/>
              <a:gd name="T12" fmla="*/ 7332 w 7332"/>
              <a:gd name="T13" fmla="*/ 40 h 3960"/>
              <a:gd name="T14" fmla="*/ 7292 w 7332"/>
              <a:gd name="T15" fmla="*/ 0 h 3960"/>
              <a:gd name="T16" fmla="*/ 40 w 7332"/>
              <a:gd name="T17" fmla="*/ 0 h 3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32" h="3960">
                <a:moveTo>
                  <a:pt x="40" y="0"/>
                </a:moveTo>
                <a:cubicBezTo>
                  <a:pt x="40" y="0"/>
                  <a:pt x="0" y="0"/>
                  <a:pt x="0" y="40"/>
                </a:cubicBezTo>
                <a:cubicBezTo>
                  <a:pt x="0" y="3920"/>
                  <a:pt x="0" y="3920"/>
                  <a:pt x="0" y="3920"/>
                </a:cubicBezTo>
                <a:cubicBezTo>
                  <a:pt x="0" y="3920"/>
                  <a:pt x="0" y="3960"/>
                  <a:pt x="40" y="3960"/>
                </a:cubicBezTo>
                <a:cubicBezTo>
                  <a:pt x="7292" y="3960"/>
                  <a:pt x="7292" y="3960"/>
                  <a:pt x="7292" y="3960"/>
                </a:cubicBezTo>
                <a:cubicBezTo>
                  <a:pt x="7292" y="3960"/>
                  <a:pt x="7332" y="3960"/>
                  <a:pt x="7332" y="3920"/>
                </a:cubicBezTo>
                <a:cubicBezTo>
                  <a:pt x="7332" y="40"/>
                  <a:pt x="7332" y="40"/>
                  <a:pt x="7332" y="40"/>
                </a:cubicBezTo>
                <a:cubicBezTo>
                  <a:pt x="7332" y="40"/>
                  <a:pt x="7332" y="0"/>
                  <a:pt x="7292" y="0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9ADE765E-0E2D-4789-9266-AD9B8991BF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617076"/>
            <a:ext cx="7453312" cy="2908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21" name="Tijdelijke aanduiding voor tekst 26">
            <a:extLst>
              <a:ext uri="{FF2B5EF4-FFF2-40B4-BE49-F238E27FC236}">
                <a16:creationId xmlns:a16="http://schemas.microsoft.com/office/drawing/2014/main" id="{ED8CBB60-F0B8-4575-A3B7-90CC779A71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617076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7706A6E3-4A17-4535-A21A-11BE430420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827316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211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0D82A6D-639C-432A-8DB6-29EB687688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44474" y="241952"/>
            <a:ext cx="8655052" cy="4659596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CBA0C283-F54F-45D8-AD45-2CB769E507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62" y="635511"/>
            <a:ext cx="3709500" cy="1802889"/>
          </a:xfrm>
          <a:prstGeom prst="roundRect">
            <a:avLst>
              <a:gd name="adj" fmla="val 2473"/>
            </a:avLst>
          </a:prstGeom>
          <a:solidFill>
            <a:schemeClr val="accent2">
              <a:alpha val="93000"/>
            </a:schemeClr>
          </a:solidFill>
        </p:spPr>
        <p:txBody>
          <a:bodyPr vert="horz" wrap="square" lIns="288000" tIns="288000" rIns="0" bIns="0" rtlCol="0" anchor="t" anchorCtr="0">
            <a:normAutofit/>
          </a:bodyPr>
          <a:lstStyle>
            <a:lvl1pPr marL="450850" indent="-450850">
              <a:buFont typeface="+mj-lt"/>
              <a:buAutoNum type="arabicPeriod"/>
              <a:defRPr lang="nl-NL" sz="2500" dirty="0">
                <a:solidFill>
                  <a:schemeClr val="bg1"/>
                </a:solidFill>
              </a:defRPr>
            </a:lvl1pPr>
          </a:lstStyle>
          <a:p>
            <a:pPr marL="457200" lvl="0" indent="-45720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258F74A5-88C3-488F-A72F-AA4C9ED655E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294" y="4001508"/>
            <a:ext cx="1156080" cy="710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0746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 - oranje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57B5C2-6A63-4BBD-A932-D7DE300FC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57B5C2-6A63-4BBD-A932-D7DE300FC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B9275C0-CE5D-4659-8465-11F908A349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A56376C-8546-4CB9-B196-D3BCEEA9C91C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15844" y="211610"/>
            <a:ext cx="8719200" cy="4723410"/>
          </a:xfrm>
          <a:custGeom>
            <a:avLst/>
            <a:gdLst>
              <a:gd name="T0" fmla="*/ 40 w 7332"/>
              <a:gd name="T1" fmla="*/ 0 h 3960"/>
              <a:gd name="T2" fmla="*/ 0 w 7332"/>
              <a:gd name="T3" fmla="*/ 40 h 3960"/>
              <a:gd name="T4" fmla="*/ 0 w 7332"/>
              <a:gd name="T5" fmla="*/ 3920 h 3960"/>
              <a:gd name="T6" fmla="*/ 40 w 7332"/>
              <a:gd name="T7" fmla="*/ 3960 h 3960"/>
              <a:gd name="T8" fmla="*/ 7292 w 7332"/>
              <a:gd name="T9" fmla="*/ 3960 h 3960"/>
              <a:gd name="T10" fmla="*/ 7332 w 7332"/>
              <a:gd name="T11" fmla="*/ 3920 h 3960"/>
              <a:gd name="T12" fmla="*/ 7332 w 7332"/>
              <a:gd name="T13" fmla="*/ 40 h 3960"/>
              <a:gd name="T14" fmla="*/ 7292 w 7332"/>
              <a:gd name="T15" fmla="*/ 0 h 3960"/>
              <a:gd name="T16" fmla="*/ 40 w 7332"/>
              <a:gd name="T17" fmla="*/ 0 h 3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332" h="3960">
                <a:moveTo>
                  <a:pt x="40" y="0"/>
                </a:moveTo>
                <a:cubicBezTo>
                  <a:pt x="40" y="0"/>
                  <a:pt x="0" y="0"/>
                  <a:pt x="0" y="40"/>
                </a:cubicBezTo>
                <a:cubicBezTo>
                  <a:pt x="0" y="3920"/>
                  <a:pt x="0" y="3920"/>
                  <a:pt x="0" y="3920"/>
                </a:cubicBezTo>
                <a:cubicBezTo>
                  <a:pt x="0" y="3920"/>
                  <a:pt x="0" y="3960"/>
                  <a:pt x="40" y="3960"/>
                </a:cubicBezTo>
                <a:cubicBezTo>
                  <a:pt x="7292" y="3960"/>
                  <a:pt x="7292" y="3960"/>
                  <a:pt x="7292" y="3960"/>
                </a:cubicBezTo>
                <a:cubicBezTo>
                  <a:pt x="7292" y="3960"/>
                  <a:pt x="7332" y="3960"/>
                  <a:pt x="7332" y="3920"/>
                </a:cubicBezTo>
                <a:cubicBezTo>
                  <a:pt x="7332" y="40"/>
                  <a:pt x="7332" y="40"/>
                  <a:pt x="7332" y="40"/>
                </a:cubicBezTo>
                <a:cubicBezTo>
                  <a:pt x="7332" y="40"/>
                  <a:pt x="7332" y="0"/>
                  <a:pt x="7292" y="0"/>
                </a:cubicBezTo>
                <a:lnTo>
                  <a:pt x="4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BCFAC19-78F8-43B6-B0BF-172F1820F7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789746"/>
            <a:ext cx="7453312" cy="2908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7" name="Tijdelijke aanduiding voor tekst 26">
            <a:extLst>
              <a:ext uri="{FF2B5EF4-FFF2-40B4-BE49-F238E27FC236}">
                <a16:creationId xmlns:a16="http://schemas.microsoft.com/office/drawing/2014/main" id="{D55FC9EF-F2A7-4241-95AC-7741C2E357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490306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9ADE765E-0E2D-4789-9266-AD9B8991BF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3600" y="1384300"/>
            <a:ext cx="6661150" cy="3275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6" name="Tijdelijke aanduiding voor tekst 26">
            <a:extLst>
              <a:ext uri="{FF2B5EF4-FFF2-40B4-BE49-F238E27FC236}">
                <a16:creationId xmlns:a16="http://schemas.microsoft.com/office/drawing/2014/main" id="{CE71D82A-0F0C-463B-A49D-229CA0A7A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490306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090B8D1E-46CD-4433-94D6-BD65DF29CD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036689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39">
          <p15:clr>
            <a:srgbClr val="FBAE40"/>
          </p15:clr>
        </p15:guide>
        <p15:guide id="2" pos="4740">
          <p15:clr>
            <a:srgbClr val="FBAE40"/>
          </p15:clr>
        </p15:guide>
        <p15:guide id="3" pos="544">
          <p15:clr>
            <a:srgbClr val="FBAE40"/>
          </p15:clr>
        </p15:guide>
        <p15:guide id="4" pos="272">
          <p15:clr>
            <a:srgbClr val="FBAE40"/>
          </p15:clr>
        </p15:guide>
        <p15:guide id="5" orient="horz" pos="872">
          <p15:clr>
            <a:srgbClr val="FBAE40"/>
          </p15:clr>
        </p15:guide>
        <p15:guide id="6" orient="horz" pos="2935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objecten -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D341851-55C9-4856-AA07-25C6E1B26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0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D341851-55C9-4856-AA07-25C6E1B26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el 19">
            <a:extLst>
              <a:ext uri="{FF2B5EF4-FFF2-40B4-BE49-F238E27FC236}">
                <a16:creationId xmlns:a16="http://schemas.microsoft.com/office/drawing/2014/main" id="{AB46F2A9-FB4B-438D-8636-9AEF8971C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2" name="Tijdelijke aanduiding voor tekst 26">
            <a:extLst>
              <a:ext uri="{FF2B5EF4-FFF2-40B4-BE49-F238E27FC236}">
                <a16:creationId xmlns:a16="http://schemas.microsoft.com/office/drawing/2014/main" id="{094BF244-646D-4CAD-A9E9-7464C6DEB0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33" name="Tijdelijke aanduiding voor tekst 26">
            <a:extLst>
              <a:ext uri="{FF2B5EF4-FFF2-40B4-BE49-F238E27FC236}">
                <a16:creationId xmlns:a16="http://schemas.microsoft.com/office/drawing/2014/main" id="{71E032AF-8BBE-4C11-AFC6-D848E8652D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39C59A6-B9B1-43D2-9A98-2F1E706BE7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3600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35000"/>
              </a:lnSpc>
              <a:buNone/>
              <a:defRPr sz="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0FC6B1D-054E-4335-A842-142135B55949}"/>
              </a:ext>
            </a:extLst>
          </p:cNvPr>
          <p:cNvSpPr txBox="1">
            <a:spLocks/>
          </p:cNvSpPr>
          <p:nvPr userDrawn="1"/>
        </p:nvSpPr>
        <p:spPr>
          <a:xfrm>
            <a:off x="4679458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Tekst</a:t>
            </a:r>
            <a:endParaRPr lang="en-US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92B19D3-4005-4098-A6BB-AEF97072B81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63599" y="1349375"/>
            <a:ext cx="3636000" cy="275780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5875257-E114-464D-A4DA-F9EE01659829}"/>
              </a:ext>
            </a:extLst>
          </p:cNvPr>
          <p:cNvSpPr txBox="1">
            <a:spLocks/>
          </p:cNvSpPr>
          <p:nvPr userDrawn="1"/>
        </p:nvSpPr>
        <p:spPr>
          <a:xfrm>
            <a:off x="863600" y="4190683"/>
            <a:ext cx="7453313" cy="173037"/>
          </a:xfrm>
          <a:prstGeom prst="roundRect">
            <a:avLst>
              <a:gd name="adj" fmla="val 21771"/>
            </a:avLst>
          </a:prstGeom>
          <a:solidFill>
            <a:schemeClr val="accent3"/>
          </a:solidFill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4" name="Tijdelijke aanduiding voor inhoud 3">
            <a:extLst>
              <a:ext uri="{FF2B5EF4-FFF2-40B4-BE49-F238E27FC236}">
                <a16:creationId xmlns:a16="http://schemas.microsoft.com/office/drawing/2014/main" id="{F9BA089E-4D82-4991-9D3D-A1C624C9B4B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80913" y="1349375"/>
            <a:ext cx="3636000" cy="275780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F9AAA07A-D695-4F6B-B9CA-88B9582C1AEE}"/>
              </a:ext>
            </a:extLst>
          </p:cNvPr>
          <p:cNvCxnSpPr>
            <a:cxnSpLocks/>
          </p:cNvCxnSpPr>
          <p:nvPr userDrawn="1"/>
        </p:nvCxnSpPr>
        <p:spPr>
          <a:xfrm flipH="1">
            <a:off x="4589529" y="1058863"/>
            <a:ext cx="1" cy="30861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DF60F01C-A80D-4751-889A-ACCB9ACB04C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93371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pos="272">
          <p15:clr>
            <a:srgbClr val="FBAE40"/>
          </p15:clr>
        </p15:guide>
        <p15:guide id="3" pos="544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5239">
          <p15:clr>
            <a:srgbClr val="FBAE40"/>
          </p15:clr>
        </p15:guide>
        <p15:guide id="6" orient="horz" pos="277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objecten - pa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D341851-55C9-4856-AA07-25C6E1B26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4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D341851-55C9-4856-AA07-25C6E1B26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el 19">
            <a:extLst>
              <a:ext uri="{FF2B5EF4-FFF2-40B4-BE49-F238E27FC236}">
                <a16:creationId xmlns:a16="http://schemas.microsoft.com/office/drawing/2014/main" id="{AB46F2A9-FB4B-438D-8636-9AEF8971C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2" name="Tijdelijke aanduiding voor tekst 26">
            <a:extLst>
              <a:ext uri="{FF2B5EF4-FFF2-40B4-BE49-F238E27FC236}">
                <a16:creationId xmlns:a16="http://schemas.microsoft.com/office/drawing/2014/main" id="{094BF244-646D-4CAD-A9E9-7464C6DEB0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33" name="Tijdelijke aanduiding voor tekst 26">
            <a:extLst>
              <a:ext uri="{FF2B5EF4-FFF2-40B4-BE49-F238E27FC236}">
                <a16:creationId xmlns:a16="http://schemas.microsoft.com/office/drawing/2014/main" id="{71E032AF-8BBE-4C11-AFC6-D848E8652D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39C59A6-B9B1-43D2-9A98-2F1E706BE7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3600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35000"/>
              </a:lnSpc>
              <a:buNone/>
              <a:defRPr sz="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0FC6B1D-054E-4335-A842-142135B55949}"/>
              </a:ext>
            </a:extLst>
          </p:cNvPr>
          <p:cNvSpPr txBox="1">
            <a:spLocks/>
          </p:cNvSpPr>
          <p:nvPr userDrawn="1"/>
        </p:nvSpPr>
        <p:spPr>
          <a:xfrm>
            <a:off x="4679458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Tekst</a:t>
            </a:r>
            <a:endParaRPr lang="en-US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92B19D3-4005-4098-A6BB-AEF97072B81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63599" y="1349375"/>
            <a:ext cx="3636000" cy="275780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5875257-E114-464D-A4DA-F9EE01659829}"/>
              </a:ext>
            </a:extLst>
          </p:cNvPr>
          <p:cNvSpPr txBox="1">
            <a:spLocks/>
          </p:cNvSpPr>
          <p:nvPr userDrawn="1"/>
        </p:nvSpPr>
        <p:spPr>
          <a:xfrm>
            <a:off x="863600" y="4190683"/>
            <a:ext cx="7453313" cy="173037"/>
          </a:xfrm>
          <a:prstGeom prst="roundRect">
            <a:avLst>
              <a:gd name="adj" fmla="val 21771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4" name="Tijdelijke aanduiding voor inhoud 3">
            <a:extLst>
              <a:ext uri="{FF2B5EF4-FFF2-40B4-BE49-F238E27FC236}">
                <a16:creationId xmlns:a16="http://schemas.microsoft.com/office/drawing/2014/main" id="{F9BA089E-4D82-4991-9D3D-A1C624C9B4B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80913" y="1349375"/>
            <a:ext cx="3636000" cy="275780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F9AAA07A-D695-4F6B-B9CA-88B9582C1AEE}"/>
              </a:ext>
            </a:extLst>
          </p:cNvPr>
          <p:cNvCxnSpPr>
            <a:cxnSpLocks/>
          </p:cNvCxnSpPr>
          <p:nvPr userDrawn="1"/>
        </p:nvCxnSpPr>
        <p:spPr>
          <a:xfrm flipH="1">
            <a:off x="4589529" y="1058863"/>
            <a:ext cx="1" cy="30861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8DB8F09F-E2B9-45CB-82AF-995718EEB5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304821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pos="272">
          <p15:clr>
            <a:srgbClr val="FBAE40"/>
          </p15:clr>
        </p15:guide>
        <p15:guide id="3" pos="544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5239">
          <p15:clr>
            <a:srgbClr val="FBAE40"/>
          </p15:clr>
        </p15:guide>
        <p15:guide id="6" orient="horz" pos="277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D341851-55C9-4856-AA07-25C6E1B26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8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D341851-55C9-4856-AA07-25C6E1B26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el 19">
            <a:extLst>
              <a:ext uri="{FF2B5EF4-FFF2-40B4-BE49-F238E27FC236}">
                <a16:creationId xmlns:a16="http://schemas.microsoft.com/office/drawing/2014/main" id="{AB46F2A9-FB4B-438D-8636-9AEF8971C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2" name="Tijdelijke aanduiding voor tekst 26">
            <a:extLst>
              <a:ext uri="{FF2B5EF4-FFF2-40B4-BE49-F238E27FC236}">
                <a16:creationId xmlns:a16="http://schemas.microsoft.com/office/drawing/2014/main" id="{094BF244-646D-4CAD-A9E9-7464C6DEB0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321382"/>
            <a:ext cx="431800" cy="1800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sp>
        <p:nvSpPr>
          <p:cNvPr id="33" name="Tijdelijke aanduiding voor tekst 26">
            <a:extLst>
              <a:ext uri="{FF2B5EF4-FFF2-40B4-BE49-F238E27FC236}">
                <a16:creationId xmlns:a16="http://schemas.microsoft.com/office/drawing/2014/main" id="{71E032AF-8BBE-4C11-AFC6-D848E8652D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3599" y="321382"/>
            <a:ext cx="7453313" cy="180049"/>
          </a:xfrm>
        </p:spPr>
        <p:txBody>
          <a:bodyPr wrap="square" rIns="36000">
            <a:spAutoFit/>
          </a:bodyPr>
          <a:lstStyle>
            <a:lvl1pPr marL="0" indent="0">
              <a:lnSpc>
                <a:spcPct val="90000"/>
              </a:lnSpc>
              <a:buNone/>
              <a:defRPr sz="13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39C59A6-B9B1-43D2-9A98-2F1E706BE7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3600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wrap="square" anchor="t" anchorCtr="0">
            <a:noAutofit/>
          </a:bodyPr>
          <a:lstStyle>
            <a:lvl1pPr marL="0" indent="0" algn="ctr">
              <a:lnSpc>
                <a:spcPct val="135000"/>
              </a:lnSpc>
              <a:buNone/>
              <a:defRPr sz="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0FC6B1D-054E-4335-A842-142135B55949}"/>
              </a:ext>
            </a:extLst>
          </p:cNvPr>
          <p:cNvSpPr txBox="1">
            <a:spLocks/>
          </p:cNvSpPr>
          <p:nvPr userDrawn="1"/>
        </p:nvSpPr>
        <p:spPr>
          <a:xfrm>
            <a:off x="4679458" y="105886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Tekst</a:t>
            </a:r>
            <a:endParaRPr lang="en-US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92B19D3-4005-4098-A6BB-AEF97072B81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63599" y="1349374"/>
            <a:ext cx="3636000" cy="114271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5875257-E114-464D-A4DA-F9EE01659829}"/>
              </a:ext>
            </a:extLst>
          </p:cNvPr>
          <p:cNvSpPr txBox="1">
            <a:spLocks/>
          </p:cNvSpPr>
          <p:nvPr userDrawn="1"/>
        </p:nvSpPr>
        <p:spPr>
          <a:xfrm>
            <a:off x="863600" y="4190683"/>
            <a:ext cx="7453313" cy="173037"/>
          </a:xfrm>
          <a:prstGeom prst="roundRect">
            <a:avLst>
              <a:gd name="adj" fmla="val 21771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Tekst</a:t>
            </a:r>
            <a:endParaRPr lang="en-US" dirty="0"/>
          </a:p>
        </p:txBody>
      </p:sp>
      <p:sp>
        <p:nvSpPr>
          <p:cNvPr id="14" name="Tijdelijke aanduiding voor inhoud 3">
            <a:extLst>
              <a:ext uri="{FF2B5EF4-FFF2-40B4-BE49-F238E27FC236}">
                <a16:creationId xmlns:a16="http://schemas.microsoft.com/office/drawing/2014/main" id="{F9BA089E-4D82-4991-9D3D-A1C624C9B4B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80913" y="1349375"/>
            <a:ext cx="3636000" cy="275780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F9AAA07A-D695-4F6B-B9CA-88B9582C1AEE}"/>
              </a:ext>
            </a:extLst>
          </p:cNvPr>
          <p:cNvCxnSpPr>
            <a:cxnSpLocks/>
          </p:cNvCxnSpPr>
          <p:nvPr userDrawn="1"/>
        </p:nvCxnSpPr>
        <p:spPr>
          <a:xfrm flipH="1">
            <a:off x="4589529" y="1058863"/>
            <a:ext cx="1" cy="30861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ubtitle 2">
            <a:extLst>
              <a:ext uri="{FF2B5EF4-FFF2-40B4-BE49-F238E27FC236}">
                <a16:creationId xmlns:a16="http://schemas.microsoft.com/office/drawing/2014/main" id="{5853F6D0-790B-49C9-A7BA-9B2EEE447AB4}"/>
              </a:ext>
            </a:extLst>
          </p:cNvPr>
          <p:cNvSpPr txBox="1">
            <a:spLocks/>
          </p:cNvSpPr>
          <p:nvPr userDrawn="1"/>
        </p:nvSpPr>
        <p:spPr>
          <a:xfrm>
            <a:off x="863600" y="2673953"/>
            <a:ext cx="3636000" cy="173037"/>
          </a:xfrm>
          <a:prstGeom prst="roundRect">
            <a:avLst>
              <a:gd name="adj" fmla="val 21771"/>
            </a:avLst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685800" rtl="0" eaLnBrk="1" latinLnBrk="0" hangingPunct="1">
              <a:lnSpc>
                <a:spcPct val="135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3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26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Tekst</a:t>
            </a:r>
            <a:endParaRPr lang="en-US" dirty="0"/>
          </a:p>
        </p:txBody>
      </p:sp>
      <p:sp>
        <p:nvSpPr>
          <p:cNvPr id="16" name="Tijdelijke aanduiding voor inhoud 3">
            <a:extLst>
              <a:ext uri="{FF2B5EF4-FFF2-40B4-BE49-F238E27FC236}">
                <a16:creationId xmlns:a16="http://schemas.microsoft.com/office/drawing/2014/main" id="{1C52BA56-79ED-4105-8069-362A4554AA8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63599" y="2964464"/>
            <a:ext cx="3636000" cy="1142715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nl-NL" dirty="0"/>
              <a:t>Voeg een grafiek of tabel i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FC36F9FC-4C7E-41C2-A077-6C3255158C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69465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pos="272">
          <p15:clr>
            <a:srgbClr val="FBAE40"/>
          </p15:clr>
        </p15:guide>
        <p15:guide id="3" pos="544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5239">
          <p15:clr>
            <a:srgbClr val="FBAE40"/>
          </p15:clr>
        </p15:guide>
        <p15:guide id="6" orient="horz" pos="277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124B7D-5DA6-4A3C-8A4F-822317CB3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82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124B7D-5DA6-4A3C-8A4F-822317CB3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el 19">
            <a:extLst>
              <a:ext uri="{FF2B5EF4-FFF2-40B4-BE49-F238E27FC236}">
                <a16:creationId xmlns:a16="http://schemas.microsoft.com/office/drawing/2014/main" id="{AB46F2A9-FB4B-438D-8636-9AEF8971C7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0" y="584863"/>
            <a:ext cx="7453312" cy="290849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36DBDEA3-8CC9-48BE-AA05-6A26C893AB2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4C61AD0-8A0D-4CC8-9055-EEAB4757F2B8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8" name="Tijdelijke aanduiding voor tekst 26">
            <a:extLst>
              <a:ext uri="{FF2B5EF4-FFF2-40B4-BE49-F238E27FC236}">
                <a16:creationId xmlns:a16="http://schemas.microsoft.com/office/drawing/2014/main" id="{CA6B93E1-B144-422A-80C3-0E2B262777A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584863"/>
            <a:ext cx="431800" cy="290849"/>
          </a:xfrm>
        </p:spPr>
        <p:txBody>
          <a:bodyPr rIns="36000">
            <a:spAutoFit/>
          </a:bodyPr>
          <a:lstStyle>
            <a:lvl1pPr marL="0" indent="0">
              <a:lnSpc>
                <a:spcPct val="90000"/>
              </a:lnSpc>
              <a:buNone/>
              <a:defRPr sz="21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6740461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pos="272">
          <p15:clr>
            <a:srgbClr val="FBAE40"/>
          </p15:clr>
        </p15:guide>
        <p15:guide id="3" pos="544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5239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3BBC5B1-2797-48A1-B0C8-5ECEEECAD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3BBC5B1-2797-48A1-B0C8-5ECEEECAD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 hidden="1">
            <a:extLst>
              <a:ext uri="{FF2B5EF4-FFF2-40B4-BE49-F238E27FC236}">
                <a16:creationId xmlns:a16="http://schemas.microsoft.com/office/drawing/2014/main" id="{E3A1C8B6-70B2-404B-8945-F19BC08DAD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B87E2C2A-8DC2-48F8-A9B0-60AD5568FA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3605" y="1069145"/>
            <a:ext cx="8656790" cy="31472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66978" y="526460"/>
            <a:ext cx="3909600" cy="1227600"/>
          </a:xfrm>
          <a:prstGeom prst="roundRect">
            <a:avLst>
              <a:gd name="adj" fmla="val 4253"/>
            </a:avLst>
          </a:prstGeom>
          <a:solidFill>
            <a:schemeClr val="accent5"/>
          </a:solidFill>
        </p:spPr>
        <p:txBody>
          <a:bodyPr wrap="square" tIns="72000" rIns="0" bIns="72000" anchor="ctr" anchorCtr="0">
            <a:normAutofit/>
          </a:bodyPr>
          <a:lstStyle>
            <a:lvl1pPr algn="ctr">
              <a:lnSpc>
                <a:spcPct val="95000"/>
              </a:lnSpc>
              <a:defRPr sz="21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Dank voor uw aandach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49349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3BBC5B1-2797-48A1-B0C8-5ECEEECAD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3BBC5B1-2797-48A1-B0C8-5ECEEECAD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 hidden="1">
            <a:extLst>
              <a:ext uri="{FF2B5EF4-FFF2-40B4-BE49-F238E27FC236}">
                <a16:creationId xmlns:a16="http://schemas.microsoft.com/office/drawing/2014/main" id="{E3A1C8B6-70B2-404B-8945-F19BC08DAD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9F23C44-95C5-4072-BFF8-BEB06EA7A0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254" y="497052"/>
            <a:ext cx="6535222" cy="3919749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50579C65-2155-4F73-AA76-8AD4BF44D2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2278" y="1669460"/>
            <a:ext cx="3909600" cy="1227600"/>
          </a:xfrm>
          <a:prstGeom prst="roundRect">
            <a:avLst>
              <a:gd name="adj" fmla="val 4253"/>
            </a:avLst>
          </a:prstGeom>
          <a:solidFill>
            <a:schemeClr val="accent4"/>
          </a:solidFill>
        </p:spPr>
        <p:txBody>
          <a:bodyPr wrap="square" lIns="72000" rIns="72000" anchor="ctr" anchorCtr="0">
            <a:normAutofit/>
          </a:bodyPr>
          <a:lstStyle>
            <a:lvl1pPr algn="ctr">
              <a:lnSpc>
                <a:spcPct val="95000"/>
              </a:lnSpc>
              <a:defRPr sz="21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Dank voor uw aandach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716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vers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DCDBC9-DEB0-4160-B953-595CCFDCC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986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DCDBC9-DEB0-4160-B953-595CCFDC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11DA88F-0E1C-4117-AAA1-281FDBA721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5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E1174D52-0D13-4A2F-9A1E-81B86B6650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44474" y="1562100"/>
            <a:ext cx="8654400" cy="333944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8BEA8F2F-DA5A-4D43-833E-5C314D22E9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4738" y="635511"/>
            <a:ext cx="2858400" cy="1795074"/>
          </a:xfrm>
          <a:prstGeom prst="roundRect">
            <a:avLst>
              <a:gd name="adj" fmla="val 2473"/>
            </a:avLst>
          </a:prstGeom>
          <a:solidFill>
            <a:schemeClr val="accent4"/>
          </a:solidFill>
        </p:spPr>
        <p:txBody>
          <a:bodyPr vert="horz" wrap="square" lIns="216000" tIns="288000" rIns="0" bIns="0" rtlCol="0" anchor="t" anchorCtr="0">
            <a:normAutofit/>
          </a:bodyPr>
          <a:lstStyle>
            <a:lvl1pPr>
              <a:defRPr lang="nl-NL" sz="250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5000"/>
              </a:lnSpc>
            </a:pPr>
            <a:r>
              <a:rPr lang="nl-NL" dirty="0"/>
              <a:t>Hoofdstuk</a:t>
            </a: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258F74A5-88C3-488F-A72F-AA4C9ED655E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294" y="4001508"/>
            <a:ext cx="1156080" cy="710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7986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3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47" Type="http://schemas.openxmlformats.org/officeDocument/2006/relationships/oleObject" Target="../embeddings/oleObject46.bin"/><Relationship Id="rId50" Type="http://schemas.openxmlformats.org/officeDocument/2006/relationships/image" Target="../media/image3.png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46" Type="http://schemas.openxmlformats.org/officeDocument/2006/relationships/tags" Target="../tags/tag89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3.xml"/><Relationship Id="rId41" Type="http://schemas.openxmlformats.org/officeDocument/2006/relationships/slideLayout" Target="../slideLayouts/slideLayout85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45" Type="http://schemas.openxmlformats.org/officeDocument/2006/relationships/tags" Target="../tags/tag88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49" Type="http://schemas.openxmlformats.org/officeDocument/2006/relationships/image" Target="../media/image2.png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4" Type="http://schemas.openxmlformats.org/officeDocument/2006/relationships/vmlDrawing" Target="../drawings/vmlDrawing46.vml"/><Relationship Id="rId52" Type="http://schemas.openxmlformats.org/officeDocument/2006/relationships/image" Target="../media/image5.svg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theme" Target="../theme/theme2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52.xml"/><Relationship Id="rId51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>
            <a:extLst>
              <a:ext uri="{FF2B5EF4-FFF2-40B4-BE49-F238E27FC236}">
                <a16:creationId xmlns:a16="http://schemas.microsoft.com/office/drawing/2014/main" id="{82E79252-5409-4775-A99F-F3AF3E693B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3234980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" name="think-cell Slide" r:id="rId49" imgW="338" imgH="337" progId="TCLayout.ActiveDocument.1">
                  <p:embed/>
                </p:oleObj>
              </mc:Choice>
              <mc:Fallback>
                <p:oleObj name="think-cell Slide" r:id="rId49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Rechthoek 78" hidden="1">
            <a:extLst>
              <a:ext uri="{FF2B5EF4-FFF2-40B4-BE49-F238E27FC236}">
                <a16:creationId xmlns:a16="http://schemas.microsoft.com/office/drawing/2014/main" id="{F509D46C-D058-40FA-8234-3A425407B6A3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3600" y="402201"/>
            <a:ext cx="7453312" cy="290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Tit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3600" y="1384300"/>
            <a:ext cx="6661150" cy="3275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3BE183B-C754-4CEE-A639-08A78FA0CD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68606" y="4987231"/>
            <a:ext cx="206788" cy="10772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94C61AD0-8A0D-4CC8-9055-EEAB4757F2B8}" type="slidenum">
              <a:rPr lang="nl-NL" smtClean="0"/>
              <a:pPr/>
              <a:t>‹nr.›</a:t>
            </a:fld>
            <a:endParaRPr lang="nl-NL" dirty="0"/>
          </a:p>
        </p:txBody>
      </p:sp>
      <p:grpSp>
        <p:nvGrpSpPr>
          <p:cNvPr id="17" name="Groep 16">
            <a:extLst>
              <a:ext uri="{FF2B5EF4-FFF2-40B4-BE49-F238E27FC236}">
                <a16:creationId xmlns:a16="http://schemas.microsoft.com/office/drawing/2014/main" id="{0ACD2423-0A0D-43A6-80D2-2C656A1529DF}"/>
              </a:ext>
            </a:extLst>
          </p:cNvPr>
          <p:cNvGrpSpPr/>
          <p:nvPr userDrawn="1"/>
        </p:nvGrpSpPr>
        <p:grpSpPr>
          <a:xfrm>
            <a:off x="-1603261" y="1384300"/>
            <a:ext cx="1501661" cy="3275013"/>
            <a:chOff x="-1603261" y="1384300"/>
            <a:chExt cx="1501661" cy="3275013"/>
          </a:xfrm>
        </p:grpSpPr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1B46AF7B-6F4E-40B2-9E91-F41528DB5C7F}"/>
                </a:ext>
              </a:extLst>
            </p:cNvPr>
            <p:cNvSpPr/>
            <p:nvPr userDrawn="1"/>
          </p:nvSpPr>
          <p:spPr>
            <a:xfrm>
              <a:off x="-1600200" y="2416711"/>
              <a:ext cx="1498600" cy="14108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lvl="0" indent="0">
                <a:lnSpc>
                  <a:spcPct val="105000"/>
                </a:lnSpc>
                <a:spcAft>
                  <a:spcPts val="0"/>
                </a:spcAft>
                <a:buFont typeface="Symbol" panose="05050102010706020507" pitchFamily="18" charset="2"/>
                <a:buNone/>
              </a:pPr>
              <a:r>
                <a:rPr lang="nl-NL" sz="800" dirty="0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</a:rPr>
                <a:t>Het eerste tekstniveau springt niet in en heeft geen </a:t>
              </a:r>
              <a:r>
                <a:rPr lang="nl-NL" sz="800" dirty="0" err="1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</a:rPr>
                <a:t>bullet</a:t>
              </a:r>
              <a:r>
                <a:rPr lang="nl-NL" sz="800" dirty="0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</a:rPr>
                <a:t>. </a:t>
              </a:r>
              <a:r>
                <a:rPr lang="nl-NL" sz="800" dirty="0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Niveau 2 t/m 5 springen wel in en hebben wel een </a:t>
              </a:r>
              <a:r>
                <a:rPr lang="nl-NL" sz="800" dirty="0" err="1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bullet</a:t>
              </a:r>
              <a:r>
                <a:rPr lang="nl-NL" sz="800" dirty="0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.</a:t>
              </a:r>
            </a:p>
            <a:p>
              <a:pPr marL="0" lvl="0" indent="0">
                <a:lnSpc>
                  <a:spcPct val="105000"/>
                </a:lnSpc>
                <a:spcAft>
                  <a:spcPts val="0"/>
                </a:spcAft>
                <a:buFont typeface="Symbol" panose="05050102010706020507" pitchFamily="18" charset="2"/>
                <a:buNone/>
              </a:pPr>
              <a:endParaRPr lang="nl-NL" sz="8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endParaRPr>
            </a:p>
            <a:p>
              <a:pPr marL="0" lvl="0" indent="0">
                <a:lnSpc>
                  <a:spcPct val="105000"/>
                </a:lnSpc>
                <a:spcAft>
                  <a:spcPts val="0"/>
                </a:spcAft>
                <a:buFont typeface="Symbol" panose="05050102010706020507" pitchFamily="18" charset="2"/>
                <a:buNone/>
              </a:pPr>
              <a:r>
                <a:rPr lang="nl-NL" sz="800" dirty="0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Gebruik de pictogrammen ‘</a:t>
              </a:r>
              <a:r>
                <a:rPr lang="nl-NL" sz="800" dirty="0" err="1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Inspringing</a:t>
              </a:r>
              <a:r>
                <a:rPr lang="nl-NL" sz="800" dirty="0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 vergroten/ verkleinen’ op tabblad Start om tussen de tekstniveaus te wisselen.</a:t>
              </a:r>
            </a:p>
          </p:txBody>
        </p:sp>
        <p:cxnSp>
          <p:nvCxnSpPr>
            <p:cNvPr id="14" name="Rechte verbindingslijn 13">
              <a:extLst>
                <a:ext uri="{FF2B5EF4-FFF2-40B4-BE49-F238E27FC236}">
                  <a16:creationId xmlns:a16="http://schemas.microsoft.com/office/drawing/2014/main" id="{E715C488-E73A-4D14-8A9E-8F7B1F99BB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600200" y="1384300"/>
              <a:ext cx="14986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Afbeelding 17">
              <a:extLst>
                <a:ext uri="{FF2B5EF4-FFF2-40B4-BE49-F238E27FC236}">
                  <a16:creationId xmlns:a16="http://schemas.microsoft.com/office/drawing/2014/main" id="{6C6ED9E0-ED2C-4DF8-9372-407E59C187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8962"/>
            <a:stretch/>
          </p:blipFill>
          <p:spPr>
            <a:xfrm>
              <a:off x="-1600200" y="1446529"/>
              <a:ext cx="1498600" cy="871538"/>
            </a:xfrm>
            <a:prstGeom prst="rect">
              <a:avLst/>
            </a:prstGeo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16" name="Groep 15">
              <a:extLst>
                <a:ext uri="{FF2B5EF4-FFF2-40B4-BE49-F238E27FC236}">
                  <a16:creationId xmlns:a16="http://schemas.microsoft.com/office/drawing/2014/main" id="{BDD43077-17CE-48F8-A04F-AA923AF76625}"/>
                </a:ext>
              </a:extLst>
            </p:cNvPr>
            <p:cNvGrpSpPr/>
            <p:nvPr userDrawn="1"/>
          </p:nvGrpSpPr>
          <p:grpSpPr>
            <a:xfrm>
              <a:off x="-1603261" y="3756031"/>
              <a:ext cx="1245474" cy="795337"/>
              <a:chOff x="-1603261" y="3756031"/>
              <a:chExt cx="1245474" cy="795337"/>
            </a:xfrm>
          </p:grpSpPr>
          <p:pic>
            <p:nvPicPr>
              <p:cNvPr id="20" name="Afbeelding 19">
                <a:extLst>
                  <a:ext uri="{FF2B5EF4-FFF2-40B4-BE49-F238E27FC236}">
                    <a16:creationId xmlns:a16="http://schemas.microsoft.com/office/drawing/2014/main" id="{C874A006-5A39-4FF8-B5DC-84387891821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2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6146"/>
              <a:stretch/>
            </p:blipFill>
            <p:spPr>
              <a:xfrm>
                <a:off x="-1603261" y="3935363"/>
                <a:ext cx="1007844" cy="616005"/>
              </a:xfrm>
              <a:prstGeom prst="rect">
                <a:avLst/>
              </a:prstGeom>
              <a:solidFill>
                <a:schemeClr val="bg2"/>
              </a:solidFill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</p:pic>
          <p:sp>
            <p:nvSpPr>
              <p:cNvPr id="21" name="Tekstvak 20">
                <a:extLst>
                  <a:ext uri="{FF2B5EF4-FFF2-40B4-BE49-F238E27FC236}">
                    <a16:creationId xmlns:a16="http://schemas.microsoft.com/office/drawing/2014/main" id="{C118A421-6588-4226-8C1E-81D81D5B0201}"/>
                  </a:ext>
                </a:extLst>
              </p:cNvPr>
              <p:cNvSpPr txBox="1"/>
              <p:nvPr/>
            </p:nvSpPr>
            <p:spPr>
              <a:xfrm>
                <a:off x="-1257235" y="4415637"/>
                <a:ext cx="315792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nl-NL" sz="800" dirty="0">
                    <a:solidFill>
                      <a:schemeClr val="tx2"/>
                    </a:solidFill>
                  </a:rPr>
                  <a:t>Alinea</a:t>
                </a:r>
              </a:p>
            </p:txBody>
          </p:sp>
          <p:pic>
            <p:nvPicPr>
              <p:cNvPr id="22" name="Graphic 21" descr="Vergrootglas">
                <a:extLst>
                  <a:ext uri="{FF2B5EF4-FFF2-40B4-BE49-F238E27FC236}">
                    <a16:creationId xmlns:a16="http://schemas.microsoft.com/office/drawing/2014/main" id="{8366E3DA-1854-4511-9765-5888B39E1C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4"/>
                  </a:ext>
                </a:extLst>
              </a:blip>
              <a:stretch>
                <a:fillRect/>
              </a:stretch>
            </p:blipFill>
            <p:spPr>
              <a:xfrm>
                <a:off x="-1148362" y="3756031"/>
                <a:ext cx="790575" cy="790575"/>
              </a:xfrm>
              <a:prstGeom prst="rect">
                <a:avLst/>
              </a:prstGeom>
            </p:spPr>
          </p:pic>
        </p:grp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2C551C6F-B5FA-4F32-B52D-F405092EDF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600200" y="4659313"/>
              <a:ext cx="14986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3711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3" r:id="rId2"/>
    <p:sldLayoutId id="2147483668" r:id="rId3"/>
    <p:sldLayoutId id="2147483705" r:id="rId4"/>
    <p:sldLayoutId id="2147483706" r:id="rId5"/>
    <p:sldLayoutId id="2147483707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663" r:id="rId13"/>
    <p:sldLayoutId id="2147483662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70" r:id="rId21"/>
    <p:sldLayoutId id="2147483671" r:id="rId22"/>
    <p:sldLayoutId id="2147483672" r:id="rId23"/>
    <p:sldLayoutId id="2147483673" r:id="rId24"/>
    <p:sldLayoutId id="2147483675" r:id="rId25"/>
    <p:sldLayoutId id="2147483676" r:id="rId26"/>
    <p:sldLayoutId id="2147483681" r:id="rId27"/>
    <p:sldLayoutId id="2147483682" r:id="rId28"/>
    <p:sldLayoutId id="2147483683" r:id="rId29"/>
    <p:sldLayoutId id="2147483685" r:id="rId30"/>
    <p:sldLayoutId id="2147483684" r:id="rId31"/>
    <p:sldLayoutId id="2147483686" r:id="rId32"/>
    <p:sldLayoutId id="2147483677" r:id="rId33"/>
    <p:sldLayoutId id="2147483678" r:id="rId34"/>
    <p:sldLayoutId id="2147483679" r:id="rId35"/>
    <p:sldLayoutId id="2147483680" r:id="rId36"/>
    <p:sldLayoutId id="2147483700" r:id="rId37"/>
    <p:sldLayoutId id="2147483701" r:id="rId38"/>
    <p:sldLayoutId id="2147483702" r:id="rId39"/>
    <p:sldLayoutId id="2147483667" r:id="rId40"/>
    <p:sldLayoutId id="2147483708" r:id="rId41"/>
    <p:sldLayoutId id="2147483709" r:id="rId42"/>
    <p:sldLayoutId id="2147483703" r:id="rId43"/>
    <p:sldLayoutId id="2147483704" r:id="rId4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60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2"/>
          </a:solidFill>
          <a:latin typeface="+mn-lt"/>
          <a:ea typeface="+mn-ea"/>
          <a:cs typeface="+mn-cs"/>
        </a:defRPr>
      </a:lvl1pPr>
      <a:lvl2pPr marL="179388" indent="-179388" algn="l" defTabSz="685800" rtl="0" eaLnBrk="1" latinLnBrk="0" hangingPunct="1">
        <a:lnSpc>
          <a:spcPct val="126000"/>
        </a:lnSpc>
        <a:spcBef>
          <a:spcPts val="0"/>
        </a:spcBef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2pPr>
      <a:lvl3pPr marL="361950" indent="-179388" algn="l" defTabSz="685800" rtl="0" eaLnBrk="1" latinLnBrk="0" hangingPunct="1">
        <a:lnSpc>
          <a:spcPct val="126000"/>
        </a:lnSpc>
        <a:spcBef>
          <a:spcPts val="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3pPr>
      <a:lvl4pPr marL="539750" indent="-179388" algn="l" defTabSz="685800" rtl="0" eaLnBrk="1" latinLnBrk="0" hangingPunct="1">
        <a:lnSpc>
          <a:spcPct val="126000"/>
        </a:lnSpc>
        <a:spcBef>
          <a:spcPts val="0"/>
        </a:spcBef>
        <a:buFont typeface="Arial" panose="020B0604020202020204" pitchFamily="34" charset="0"/>
        <a:buChar char="•"/>
        <a:defRPr sz="950" kern="1200">
          <a:solidFill>
            <a:schemeClr val="tx2"/>
          </a:solidFill>
          <a:latin typeface="+mn-lt"/>
          <a:ea typeface="+mn-ea"/>
          <a:cs typeface="+mn-cs"/>
        </a:defRPr>
      </a:lvl4pPr>
      <a:lvl5pPr marL="717550" indent="-179388" algn="l" defTabSz="685800" rtl="0" eaLnBrk="1" latinLnBrk="0" hangingPunct="1">
        <a:lnSpc>
          <a:spcPct val="126000"/>
        </a:lnSpc>
        <a:spcBef>
          <a:spcPts val="0"/>
        </a:spcBef>
        <a:buFont typeface="Arial" panose="020B0604020202020204" pitchFamily="34" charset="0"/>
        <a:buChar char="•"/>
        <a:defRPr sz="8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>
            <a:extLst>
              <a:ext uri="{FF2B5EF4-FFF2-40B4-BE49-F238E27FC236}">
                <a16:creationId xmlns:a16="http://schemas.microsoft.com/office/drawing/2014/main" id="{82E79252-5409-4775-A99F-F3AF3E693B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22" name="think-cell Slide" r:id="rId47" imgW="338" imgH="337" progId="TCLayout.ActiveDocument.1">
                  <p:embed/>
                </p:oleObj>
              </mc:Choice>
              <mc:Fallback>
                <p:oleObj name="think-cell Slide" r:id="rId47" imgW="338" imgH="337" progId="TCLayout.ActiveDocument.1">
                  <p:embed/>
                  <p:pic>
                    <p:nvPicPr>
                      <p:cNvPr id="80" name="Object 79" hidden="1">
                        <a:extLst>
                          <a:ext uri="{FF2B5EF4-FFF2-40B4-BE49-F238E27FC236}">
                            <a16:creationId xmlns:a16="http://schemas.microsoft.com/office/drawing/2014/main" id="{82E79252-5409-4775-A99F-F3AF3E693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Rechthoek 78" hidden="1">
            <a:extLst>
              <a:ext uri="{FF2B5EF4-FFF2-40B4-BE49-F238E27FC236}">
                <a16:creationId xmlns:a16="http://schemas.microsoft.com/office/drawing/2014/main" id="{F509D46C-D058-40FA-8234-3A425407B6A3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1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3600" y="402201"/>
            <a:ext cx="7453312" cy="290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Tit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3600" y="1384300"/>
            <a:ext cx="6661150" cy="3275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3BE183B-C754-4CEE-A639-08A78FA0CD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68606" y="4987231"/>
            <a:ext cx="206788" cy="10772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94C61AD0-8A0D-4CC8-9055-EEAB4757F2B8}" type="slidenum">
              <a:rPr lang="nl-NL" smtClean="0"/>
              <a:pPr/>
              <a:t>‹nr.›</a:t>
            </a:fld>
            <a:endParaRPr lang="nl-NL" dirty="0"/>
          </a:p>
        </p:txBody>
      </p:sp>
      <p:grpSp>
        <p:nvGrpSpPr>
          <p:cNvPr id="17" name="Groep 16">
            <a:extLst>
              <a:ext uri="{FF2B5EF4-FFF2-40B4-BE49-F238E27FC236}">
                <a16:creationId xmlns:a16="http://schemas.microsoft.com/office/drawing/2014/main" id="{0ACD2423-0A0D-43A6-80D2-2C656A1529DF}"/>
              </a:ext>
            </a:extLst>
          </p:cNvPr>
          <p:cNvGrpSpPr/>
          <p:nvPr userDrawn="1"/>
        </p:nvGrpSpPr>
        <p:grpSpPr>
          <a:xfrm>
            <a:off x="-1603261" y="1384300"/>
            <a:ext cx="1501661" cy="3275013"/>
            <a:chOff x="-1603261" y="1384300"/>
            <a:chExt cx="1501661" cy="3275013"/>
          </a:xfrm>
        </p:grpSpPr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1B46AF7B-6F4E-40B2-9E91-F41528DB5C7F}"/>
                </a:ext>
              </a:extLst>
            </p:cNvPr>
            <p:cNvSpPr/>
            <p:nvPr userDrawn="1"/>
          </p:nvSpPr>
          <p:spPr>
            <a:xfrm>
              <a:off x="-1600200" y="2416711"/>
              <a:ext cx="1498600" cy="14108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lvl="0" indent="0">
                <a:lnSpc>
                  <a:spcPct val="105000"/>
                </a:lnSpc>
                <a:spcAft>
                  <a:spcPts val="0"/>
                </a:spcAft>
                <a:buFont typeface="Symbol" panose="05050102010706020507" pitchFamily="18" charset="2"/>
                <a:buNone/>
              </a:pPr>
              <a:r>
                <a:rPr lang="nl-NL" sz="800" dirty="0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</a:rPr>
                <a:t>Het eerste tekstniveau springt niet in en heeft geen </a:t>
              </a:r>
              <a:r>
                <a:rPr lang="nl-NL" sz="800" dirty="0" err="1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</a:rPr>
                <a:t>bullet</a:t>
              </a:r>
              <a:r>
                <a:rPr lang="nl-NL" sz="800" dirty="0">
                  <a:solidFill>
                    <a:schemeClr val="tx2"/>
                  </a:solidFill>
                  <a:latin typeface="+mn-lt"/>
                  <a:ea typeface="Times New Roman" panose="02020603050405020304" pitchFamily="18" charset="0"/>
                </a:rPr>
                <a:t>. </a:t>
              </a:r>
              <a:r>
                <a:rPr lang="nl-NL" sz="800" dirty="0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Niveau 2 t/m 5 springen wel in en hebben wel een </a:t>
              </a:r>
              <a:r>
                <a:rPr lang="nl-NL" sz="800" dirty="0" err="1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bullet</a:t>
              </a:r>
              <a:r>
                <a:rPr lang="nl-NL" sz="800" dirty="0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.</a:t>
              </a:r>
            </a:p>
            <a:p>
              <a:pPr marL="0" lvl="0" indent="0">
                <a:lnSpc>
                  <a:spcPct val="105000"/>
                </a:lnSpc>
                <a:spcAft>
                  <a:spcPts val="0"/>
                </a:spcAft>
                <a:buFont typeface="Symbol" panose="05050102010706020507" pitchFamily="18" charset="2"/>
                <a:buNone/>
              </a:pPr>
              <a:endParaRPr lang="nl-NL" sz="8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endParaRPr>
            </a:p>
            <a:p>
              <a:pPr marL="0" lvl="0" indent="0">
                <a:lnSpc>
                  <a:spcPct val="105000"/>
                </a:lnSpc>
                <a:spcAft>
                  <a:spcPts val="0"/>
                </a:spcAft>
                <a:buFont typeface="Symbol" panose="05050102010706020507" pitchFamily="18" charset="2"/>
                <a:buNone/>
              </a:pPr>
              <a:r>
                <a:rPr lang="nl-NL" sz="800" dirty="0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Gebruik de pictogrammen ‘</a:t>
              </a:r>
              <a:r>
                <a:rPr lang="nl-NL" sz="800" dirty="0" err="1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Inspringing</a:t>
              </a:r>
              <a:r>
                <a:rPr lang="nl-NL" sz="800" dirty="0">
                  <a:solidFill>
                    <a:schemeClr val="tx2"/>
                  </a:solidFill>
                  <a:latin typeface="+mn-lt"/>
                  <a:ea typeface="Calibri" panose="020F0502020204030204" pitchFamily="34" charset="0"/>
                </a:rPr>
                <a:t> vergroten/ verkleinen’ op tabblad Start om tussen de tekstniveaus te wisselen.</a:t>
              </a:r>
            </a:p>
          </p:txBody>
        </p:sp>
        <p:cxnSp>
          <p:nvCxnSpPr>
            <p:cNvPr id="14" name="Rechte verbindingslijn 13">
              <a:extLst>
                <a:ext uri="{FF2B5EF4-FFF2-40B4-BE49-F238E27FC236}">
                  <a16:creationId xmlns:a16="http://schemas.microsoft.com/office/drawing/2014/main" id="{E715C488-E73A-4D14-8A9E-8F7B1F99BB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600200" y="1384300"/>
              <a:ext cx="14986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Afbeelding 17">
              <a:extLst>
                <a:ext uri="{FF2B5EF4-FFF2-40B4-BE49-F238E27FC236}">
                  <a16:creationId xmlns:a16="http://schemas.microsoft.com/office/drawing/2014/main" id="{6C6ED9E0-ED2C-4DF8-9372-407E59C187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8962"/>
            <a:stretch/>
          </p:blipFill>
          <p:spPr>
            <a:xfrm>
              <a:off x="-1600200" y="1446529"/>
              <a:ext cx="1498600" cy="871538"/>
            </a:xfrm>
            <a:prstGeom prst="rect">
              <a:avLst/>
            </a:prstGeo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</p:pic>
        <p:grpSp>
          <p:nvGrpSpPr>
            <p:cNvPr id="16" name="Groep 15">
              <a:extLst>
                <a:ext uri="{FF2B5EF4-FFF2-40B4-BE49-F238E27FC236}">
                  <a16:creationId xmlns:a16="http://schemas.microsoft.com/office/drawing/2014/main" id="{BDD43077-17CE-48F8-A04F-AA923AF76625}"/>
                </a:ext>
              </a:extLst>
            </p:cNvPr>
            <p:cNvGrpSpPr/>
            <p:nvPr userDrawn="1"/>
          </p:nvGrpSpPr>
          <p:grpSpPr>
            <a:xfrm>
              <a:off x="-1603261" y="3756031"/>
              <a:ext cx="1245474" cy="795337"/>
              <a:chOff x="-1603261" y="3756031"/>
              <a:chExt cx="1245474" cy="795337"/>
            </a:xfrm>
          </p:grpSpPr>
          <p:pic>
            <p:nvPicPr>
              <p:cNvPr id="20" name="Afbeelding 19">
                <a:extLst>
                  <a:ext uri="{FF2B5EF4-FFF2-40B4-BE49-F238E27FC236}">
                    <a16:creationId xmlns:a16="http://schemas.microsoft.com/office/drawing/2014/main" id="{C874A006-5A39-4FF8-B5DC-84387891821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0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6146"/>
              <a:stretch/>
            </p:blipFill>
            <p:spPr>
              <a:xfrm>
                <a:off x="-1603261" y="3935363"/>
                <a:ext cx="1007844" cy="616005"/>
              </a:xfrm>
              <a:prstGeom prst="rect">
                <a:avLst/>
              </a:prstGeom>
              <a:solidFill>
                <a:schemeClr val="bg2"/>
              </a:solidFill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</p:pic>
          <p:sp>
            <p:nvSpPr>
              <p:cNvPr id="21" name="Tekstvak 20">
                <a:extLst>
                  <a:ext uri="{FF2B5EF4-FFF2-40B4-BE49-F238E27FC236}">
                    <a16:creationId xmlns:a16="http://schemas.microsoft.com/office/drawing/2014/main" id="{C118A421-6588-4226-8C1E-81D81D5B0201}"/>
                  </a:ext>
                </a:extLst>
              </p:cNvPr>
              <p:cNvSpPr txBox="1"/>
              <p:nvPr/>
            </p:nvSpPr>
            <p:spPr>
              <a:xfrm>
                <a:off x="-1257235" y="4415637"/>
                <a:ext cx="315792" cy="1231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nl-NL" sz="800" dirty="0">
                    <a:solidFill>
                      <a:schemeClr val="tx2"/>
                    </a:solidFill>
                  </a:rPr>
                  <a:t>Alinea</a:t>
                </a:r>
              </a:p>
            </p:txBody>
          </p:sp>
          <p:pic>
            <p:nvPicPr>
              <p:cNvPr id="22" name="Graphic 21" descr="Vergrootglas">
                <a:extLst>
                  <a:ext uri="{FF2B5EF4-FFF2-40B4-BE49-F238E27FC236}">
                    <a16:creationId xmlns:a16="http://schemas.microsoft.com/office/drawing/2014/main" id="{8366E3DA-1854-4511-9765-5888B39E1C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2"/>
                  </a:ext>
                </a:extLst>
              </a:blip>
              <a:stretch>
                <a:fillRect/>
              </a:stretch>
            </p:blipFill>
            <p:spPr>
              <a:xfrm>
                <a:off x="-1148362" y="3756031"/>
                <a:ext cx="790575" cy="790575"/>
              </a:xfrm>
              <a:prstGeom prst="rect">
                <a:avLst/>
              </a:prstGeom>
            </p:spPr>
          </p:pic>
        </p:grp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id="{2C551C6F-B5FA-4F32-B52D-F405092EDF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600200" y="4659313"/>
              <a:ext cx="14986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89108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2" r:id="rId4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6000"/>
        </a:lnSpc>
        <a:spcBef>
          <a:spcPts val="0"/>
        </a:spcBef>
        <a:buFont typeface="Arial" panose="020B0604020202020204" pitchFamily="34" charset="0"/>
        <a:buNone/>
        <a:defRPr sz="1500" kern="1200">
          <a:solidFill>
            <a:schemeClr val="tx2"/>
          </a:solidFill>
          <a:latin typeface="+mn-lt"/>
          <a:ea typeface="+mn-ea"/>
          <a:cs typeface="+mn-cs"/>
        </a:defRPr>
      </a:lvl1pPr>
      <a:lvl2pPr marL="179388" indent="-179388" algn="l" defTabSz="685800" rtl="0" eaLnBrk="1" latinLnBrk="0" hangingPunct="1">
        <a:lnSpc>
          <a:spcPct val="126000"/>
        </a:lnSpc>
        <a:spcBef>
          <a:spcPts val="0"/>
        </a:spcBef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2pPr>
      <a:lvl3pPr marL="361950" indent="-179388" algn="l" defTabSz="685800" rtl="0" eaLnBrk="1" latinLnBrk="0" hangingPunct="1">
        <a:lnSpc>
          <a:spcPct val="126000"/>
        </a:lnSpc>
        <a:spcBef>
          <a:spcPts val="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3pPr>
      <a:lvl4pPr marL="539750" indent="-179388" algn="l" defTabSz="685800" rtl="0" eaLnBrk="1" latinLnBrk="0" hangingPunct="1">
        <a:lnSpc>
          <a:spcPct val="126000"/>
        </a:lnSpc>
        <a:spcBef>
          <a:spcPts val="0"/>
        </a:spcBef>
        <a:buFont typeface="Arial" panose="020B0604020202020204" pitchFamily="34" charset="0"/>
        <a:buChar char="•"/>
        <a:defRPr sz="950" kern="1200">
          <a:solidFill>
            <a:schemeClr val="tx2"/>
          </a:solidFill>
          <a:latin typeface="+mn-lt"/>
          <a:ea typeface="+mn-ea"/>
          <a:cs typeface="+mn-cs"/>
        </a:defRPr>
      </a:lvl4pPr>
      <a:lvl5pPr marL="717550" indent="-179388" algn="l" defTabSz="685800" rtl="0" eaLnBrk="1" latinLnBrk="0" hangingPunct="1">
        <a:lnSpc>
          <a:spcPct val="126000"/>
        </a:lnSpc>
        <a:spcBef>
          <a:spcPts val="0"/>
        </a:spcBef>
        <a:buFont typeface="Arial" panose="020B0604020202020204" pitchFamily="34" charset="0"/>
        <a:buChar char="•"/>
        <a:defRPr sz="8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21.xml"/><Relationship Id="rId7" Type="http://schemas.openxmlformats.org/officeDocument/2006/relationships/diagramLayout" Target="../diagrams/layout2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98.v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91.bin"/><Relationship Id="rId9" Type="http://schemas.openxmlformats.org/officeDocument/2006/relationships/diagramColors" Target="../diagrams/colors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21.xml"/><Relationship Id="rId7" Type="http://schemas.openxmlformats.org/officeDocument/2006/relationships/diagramLayout" Target="../diagrams/layout1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96.v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91.bin"/><Relationship Id="rId9" Type="http://schemas.openxmlformats.org/officeDocument/2006/relationships/diagramColors" Target="../diagrams/colors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CD10A4-6D7E-4111-A114-32EC153627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5270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9C87AAC0-BA82-431D-9C84-EA1A977061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l-NL" dirty="0"/>
              <a:t>Roger Mutsaers, Coöperatieconsulent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750E23D-61C2-4346-A888-2B0CC9B64B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Uitvaartwensen vastleggen en Nabestaandenzorg</a:t>
            </a:r>
          </a:p>
        </p:txBody>
      </p:sp>
      <p:sp>
        <p:nvSpPr>
          <p:cNvPr id="7" name="Ondertitel 6">
            <a:extLst>
              <a:ext uri="{FF2B5EF4-FFF2-40B4-BE49-F238E27FC236}">
                <a16:creationId xmlns:a16="http://schemas.microsoft.com/office/drawing/2014/main" id="{1684CFFF-F3FC-4BC6-91A7-3C2B938EEB8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Puth, 16 oktober 2019</a:t>
            </a:r>
          </a:p>
        </p:txBody>
      </p:sp>
    </p:spTree>
    <p:extLst>
      <p:ext uri="{BB962C8B-B14F-4D97-AF65-F5344CB8AC3E}">
        <p14:creationId xmlns:p14="http://schemas.microsoft.com/office/powerpoint/2010/main" val="19226477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E1B31B-BAFC-4464-A5F0-D4D8DB739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6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7E1B31B-BAFC-4464-A5F0-D4D8DB739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59C8D5-10DD-4492-84D5-B17FC385C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2201"/>
            <a:ext cx="7453312" cy="290849"/>
          </a:xfrm>
        </p:spPr>
        <p:txBody>
          <a:bodyPr/>
          <a:lstStyle/>
          <a:p>
            <a:r>
              <a:rPr lang="nl-NL" dirty="0"/>
              <a:t>Waarom iets regelen?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DE1B16E-E08E-488E-82A9-8A8BFB76B0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32E241A-63D7-48EB-8C19-260DF087EF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/>
              <a:t>                            Duidelijkheid over de te verwachten kosten</a:t>
            </a:r>
          </a:p>
          <a:p>
            <a:endParaRPr lang="nl-NL" dirty="0"/>
          </a:p>
          <a:p>
            <a:r>
              <a:rPr lang="nl-NL" dirty="0"/>
              <a:t>Nabestaanden verzorgd achterlaten</a:t>
            </a:r>
          </a:p>
          <a:p>
            <a:endParaRPr lang="nl-NL" dirty="0"/>
          </a:p>
          <a:p>
            <a:r>
              <a:rPr lang="nl-NL" dirty="0"/>
              <a:t>                                                                     Zekerheid </a:t>
            </a:r>
          </a:p>
          <a:p>
            <a:r>
              <a:rPr lang="nl-NL" dirty="0"/>
              <a:t>                                       </a:t>
            </a:r>
            <a:r>
              <a:rPr lang="nl-NL" sz="2000" dirty="0"/>
              <a:t>ONTZORGEN</a:t>
            </a:r>
          </a:p>
          <a:p>
            <a:endParaRPr lang="nl-NL" sz="2000" dirty="0"/>
          </a:p>
          <a:p>
            <a:r>
              <a:rPr lang="nl-NL" dirty="0"/>
              <a:t>Terugvallen op nabestaanden moeilijk/onmogelijk</a:t>
            </a:r>
          </a:p>
          <a:p>
            <a:endParaRPr lang="nl-NL" dirty="0"/>
          </a:p>
          <a:p>
            <a:r>
              <a:rPr lang="nl-NL" dirty="0"/>
              <a:t>                                   Alles goed geregeld/goed gevoel</a:t>
            </a:r>
          </a:p>
        </p:txBody>
      </p:sp>
    </p:spTree>
    <p:extLst>
      <p:ext uri="{BB962C8B-B14F-4D97-AF65-F5344CB8AC3E}">
        <p14:creationId xmlns:p14="http://schemas.microsoft.com/office/powerpoint/2010/main" val="27706764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E1B31B-BAFC-4464-A5F0-D4D8DB739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1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7E1B31B-BAFC-4464-A5F0-D4D8DB739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59C8D5-10DD-4492-84D5-B17FC385C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2201"/>
            <a:ext cx="7453312" cy="290849"/>
          </a:xfrm>
        </p:spPr>
        <p:txBody>
          <a:bodyPr/>
          <a:lstStyle/>
          <a:p>
            <a:r>
              <a:rPr lang="nl-NL" dirty="0"/>
              <a:t>Hoe kan ik mijn wensen kenbaar maken?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DE1B16E-E08E-488E-82A9-8A8BFB76B0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489376FB-E9C9-444D-A217-3DF9211EB6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2935145"/>
              </p:ext>
            </p:extLst>
          </p:nvPr>
        </p:nvGraphicFramePr>
        <p:xfrm>
          <a:off x="863600" y="1384300"/>
          <a:ext cx="6661150" cy="32750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0609969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E1B31B-BAFC-4464-A5F0-D4D8DB739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9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7E1B31B-BAFC-4464-A5F0-D4D8DB739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59C8D5-10DD-4492-84D5-B17FC385C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2201"/>
            <a:ext cx="7453312" cy="290849"/>
          </a:xfrm>
        </p:spPr>
        <p:txBody>
          <a:bodyPr/>
          <a:lstStyle/>
          <a:p>
            <a:r>
              <a:rPr lang="nl-NL" dirty="0"/>
              <a:t>Waar kan ik alvast over nadenken?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DE1B16E-E08E-488E-82A9-8A8BFB76B0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32E241A-63D7-48EB-8C19-260DF087EF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/>
              <a:t>(Natuur)begraven of cremeren              </a:t>
            </a:r>
          </a:p>
          <a:p>
            <a:r>
              <a:rPr lang="nl-NL" dirty="0"/>
              <a:t>					wel/geen kerkdienst?</a:t>
            </a:r>
          </a:p>
          <a:p>
            <a:r>
              <a:rPr lang="nl-NL" dirty="0"/>
              <a:t>Kist       rieten mand      wade </a:t>
            </a:r>
          </a:p>
          <a:p>
            <a:r>
              <a:rPr lang="nl-NL" dirty="0"/>
              <a:t>					Koffietafel/borrel/receptie</a:t>
            </a:r>
          </a:p>
          <a:p>
            <a:r>
              <a:rPr lang="nl-NL" dirty="0" err="1"/>
              <a:t>Thanatopraxie</a:t>
            </a:r>
            <a:r>
              <a:rPr lang="nl-NL" dirty="0"/>
              <a:t> (conserveringsbehandeling voor opbaring)</a:t>
            </a:r>
          </a:p>
          <a:p>
            <a:r>
              <a:rPr lang="nl-NL" dirty="0"/>
              <a:t>								foto’s  </a:t>
            </a:r>
          </a:p>
          <a:p>
            <a:r>
              <a:rPr lang="nl-NL" dirty="0"/>
              <a:t>Kleding/sieraden      wel/geen rouwbezoek</a:t>
            </a:r>
          </a:p>
          <a:p>
            <a:r>
              <a:rPr lang="nl-NL" dirty="0"/>
              <a:t>							bloemen</a:t>
            </a:r>
          </a:p>
          <a:p>
            <a:r>
              <a:rPr lang="nl-NL" dirty="0"/>
              <a:t>(thuis)opbaren    24-uurs rouwkamer   in de kist/op bed</a:t>
            </a:r>
          </a:p>
          <a:p>
            <a:r>
              <a:rPr lang="nl-NL" dirty="0"/>
              <a:t>					muziek</a:t>
            </a:r>
          </a:p>
          <a:p>
            <a:r>
              <a:rPr lang="nl-NL" dirty="0"/>
              <a:t>rouwvervoer</a:t>
            </a:r>
          </a:p>
        </p:txBody>
      </p:sp>
    </p:spTree>
    <p:extLst>
      <p:ext uri="{BB962C8B-B14F-4D97-AF65-F5344CB8AC3E}">
        <p14:creationId xmlns:p14="http://schemas.microsoft.com/office/powerpoint/2010/main" val="6747878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E1B31B-BAFC-4464-A5F0-D4D8DB739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6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7E1B31B-BAFC-4464-A5F0-D4D8DB739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59C8D5-10DD-4492-84D5-B17FC385C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ortom: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DE1B16E-E08E-488E-82A9-8A8BFB76B0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32E241A-63D7-48EB-8C19-260DF087EF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7890" y="1466286"/>
            <a:ext cx="6661150" cy="3275013"/>
          </a:xfrm>
        </p:spPr>
        <p:txBody>
          <a:bodyPr/>
          <a:lstStyle/>
          <a:p>
            <a:r>
              <a:rPr lang="nl-NL" dirty="0"/>
              <a:t>Er is genoeg om over na te denken en waarmee u uw nabestaanden kunt ontzorgen. </a:t>
            </a:r>
          </a:p>
          <a:p>
            <a:endParaRPr lang="nl-NL" dirty="0"/>
          </a:p>
          <a:p>
            <a:r>
              <a:rPr lang="nl-NL" dirty="0"/>
              <a:t>U kunt –of u nu lid bent van coöperatie DELA of niet- altijd een kosteloze voorbespreking krijgen met een coöperatieconsulent van coöperatie DELA. </a:t>
            </a:r>
          </a:p>
          <a:p>
            <a:endParaRPr lang="nl-NL" dirty="0"/>
          </a:p>
          <a:p>
            <a:r>
              <a:rPr lang="nl-NL" dirty="0"/>
              <a:t>Wij maken graag samen met u een uitvaartwensendocument en denken met u mee wat u verder voor later alvast kunt regelen. </a:t>
            </a:r>
          </a:p>
        </p:txBody>
      </p:sp>
    </p:spTree>
    <p:extLst>
      <p:ext uri="{BB962C8B-B14F-4D97-AF65-F5344CB8AC3E}">
        <p14:creationId xmlns:p14="http://schemas.microsoft.com/office/powerpoint/2010/main" val="20640152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479E5F-D843-471F-B9A2-3E66D8829E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Vragen? </a:t>
            </a:r>
            <a:br>
              <a:rPr lang="nl-NL" dirty="0"/>
            </a:br>
            <a:r>
              <a:rPr lang="nl-NL" dirty="0"/>
              <a:t>Dank voor uw aandacht</a:t>
            </a:r>
          </a:p>
        </p:txBody>
      </p:sp>
    </p:spTree>
    <p:extLst>
      <p:ext uri="{BB962C8B-B14F-4D97-AF65-F5344CB8AC3E}">
        <p14:creationId xmlns:p14="http://schemas.microsoft.com/office/powerpoint/2010/main" val="11506134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70EA22-F221-448A-BC3C-0E3F59B451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88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3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71DBD34C-5E0F-483F-A626-7315CAAB24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62426" y="609600"/>
            <a:ext cx="4686300" cy="4130566"/>
          </a:xfrm>
        </p:spPr>
        <p:txBody>
          <a:bodyPr/>
          <a:lstStyle/>
          <a:p>
            <a:r>
              <a:rPr lang="nl-NL" b="1" dirty="0"/>
              <a:t>Wat is nabestaandenzorg</a:t>
            </a:r>
            <a:r>
              <a:rPr lang="nl-NL" dirty="0"/>
              <a:t>?</a:t>
            </a:r>
          </a:p>
          <a:p>
            <a:r>
              <a:rPr lang="nl-NL" dirty="0"/>
              <a:t>Voor wie?</a:t>
            </a:r>
          </a:p>
          <a:p>
            <a:r>
              <a:rPr lang="nl-NL" dirty="0"/>
              <a:t>Hoe werkt het?</a:t>
            </a:r>
          </a:p>
          <a:p>
            <a:r>
              <a:rPr lang="nl-NL" dirty="0"/>
              <a:t>Nabestaandenzorg en specialisten</a:t>
            </a:r>
          </a:p>
          <a:p>
            <a:r>
              <a:rPr lang="nl-NL" dirty="0"/>
              <a:t>Hoe kunt u zich goed voorbereiden?</a:t>
            </a:r>
          </a:p>
          <a:p>
            <a:r>
              <a:rPr lang="nl-NL" b="1" dirty="0"/>
              <a:t>Uitvaartwensen vastleggen</a:t>
            </a:r>
          </a:p>
          <a:p>
            <a:r>
              <a:rPr lang="nl-NL" dirty="0"/>
              <a:t>Stellingen</a:t>
            </a:r>
          </a:p>
          <a:p>
            <a:r>
              <a:rPr lang="nl-NL" dirty="0"/>
              <a:t>Waarom iets regelen?</a:t>
            </a:r>
          </a:p>
          <a:p>
            <a:r>
              <a:rPr lang="nl-NL" dirty="0"/>
              <a:t>Hoe kan ik mijn wensen kenbaar maken?</a:t>
            </a:r>
          </a:p>
          <a:p>
            <a:r>
              <a:rPr lang="nl-NL" dirty="0"/>
              <a:t>Waar kan ik alvast over nadenken?</a:t>
            </a:r>
          </a:p>
          <a:p>
            <a:r>
              <a:rPr lang="nl-NL" dirty="0"/>
              <a:t>Vragen</a:t>
            </a:r>
          </a:p>
          <a:p>
            <a:endParaRPr lang="nl-NL" dirty="0"/>
          </a:p>
          <a:p>
            <a:endParaRPr lang="nl-NL" dirty="0"/>
          </a:p>
          <a:p>
            <a:r>
              <a:rPr lang="nl-NL" dirty="0"/>
              <a:t>	#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2138EA5-FC51-4C89-8A7C-1F47076F5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0435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E1B31B-BAFC-4464-A5F0-D4D8DB739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349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3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59C8D5-10DD-4492-84D5-B17FC385C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nabestaandenzorg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DE1B16E-E08E-488E-82A9-8A8BFB76B0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32E241A-63D7-48EB-8C19-260DF087EF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/>
              <a:t>Nabestaandenzorg staat u na de uitvaart bij met </a:t>
            </a:r>
          </a:p>
          <a:p>
            <a:endParaRPr lang="nl-NL" dirty="0"/>
          </a:p>
          <a:p>
            <a:r>
              <a:rPr lang="nl-NL" dirty="0"/>
              <a:t>Praktische hulp</a:t>
            </a:r>
          </a:p>
          <a:p>
            <a:endParaRPr lang="nl-NL" dirty="0"/>
          </a:p>
          <a:p>
            <a:endParaRPr lang="nl-NL" dirty="0"/>
          </a:p>
          <a:p>
            <a:r>
              <a:rPr lang="nl-NL" dirty="0"/>
              <a:t>Financiële hulp</a:t>
            </a:r>
          </a:p>
        </p:txBody>
      </p:sp>
    </p:spTree>
    <p:extLst>
      <p:ext uri="{BB962C8B-B14F-4D97-AF65-F5344CB8AC3E}">
        <p14:creationId xmlns:p14="http://schemas.microsoft.com/office/powerpoint/2010/main" val="1822851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E1B31B-BAFC-4464-A5F0-D4D8DB739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2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7E1B31B-BAFC-4464-A5F0-D4D8DB739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59C8D5-10DD-4492-84D5-B17FC385C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402201"/>
            <a:ext cx="7453312" cy="290849"/>
          </a:xfrm>
        </p:spPr>
        <p:txBody>
          <a:bodyPr/>
          <a:lstStyle/>
          <a:p>
            <a:r>
              <a:rPr lang="nl-NL" dirty="0"/>
              <a:t>Voor wie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DE1B16E-E08E-488E-82A9-8A8BFB76B0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32E241A-63D7-48EB-8C19-260DF087EF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/>
              <a:t>Nabestaandenzorg is er voor alle klanten van Coöperatie DELA</a:t>
            </a:r>
          </a:p>
          <a:p>
            <a:endParaRPr lang="nl-NL" dirty="0"/>
          </a:p>
          <a:p>
            <a:r>
              <a:rPr lang="nl-NL" dirty="0"/>
              <a:t>Nabestaanden van overledenen die bij DELA verzekerd waren</a:t>
            </a:r>
          </a:p>
          <a:p>
            <a:endParaRPr lang="nl-NL" dirty="0"/>
          </a:p>
          <a:p>
            <a:r>
              <a:rPr lang="nl-NL" dirty="0"/>
              <a:t>Nabestaanden die de uitvaart door DELA hebben laten regelen zonder dat er sprake is van een verzekering bij DELA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457930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63E91F-8ABA-4610-AD9F-89A07C72A3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0000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5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jdelijke aanduiding voor inhoud 8">
            <a:extLst>
              <a:ext uri="{FF2B5EF4-FFF2-40B4-BE49-F238E27FC236}">
                <a16:creationId xmlns:a16="http://schemas.microsoft.com/office/drawing/2014/main" id="{7026CC32-012C-4934-8D87-E2DDFEFFAF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Praktische hulp</a:t>
            </a:r>
          </a:p>
          <a:p>
            <a:endParaRPr lang="nl-NL" dirty="0"/>
          </a:p>
          <a:p>
            <a:pPr lvl="1"/>
            <a:r>
              <a:rPr lang="nl-NL" dirty="0"/>
              <a:t> Opzeggingen </a:t>
            </a:r>
          </a:p>
          <a:p>
            <a:pPr lvl="1"/>
            <a:r>
              <a:rPr lang="nl-NL" dirty="0"/>
              <a:t> Woning leegruiming</a:t>
            </a:r>
          </a:p>
          <a:p>
            <a:pPr lvl="1"/>
            <a:r>
              <a:rPr lang="nl-NL" dirty="0"/>
              <a:t> Verklaring van erfrecht nodig</a:t>
            </a:r>
          </a:p>
          <a:p>
            <a:pPr lvl="1"/>
            <a:endParaRPr lang="nl-NL" dirty="0"/>
          </a:p>
          <a:p>
            <a:pPr marL="0" lvl="1" indent="0">
              <a:buNone/>
            </a:pPr>
            <a:r>
              <a:rPr lang="nl-NL" dirty="0"/>
              <a:t>Financiële hulp</a:t>
            </a:r>
          </a:p>
          <a:p>
            <a:pPr marL="182562" lvl="2" indent="0">
              <a:buNone/>
            </a:pPr>
            <a:endParaRPr lang="nl-NL" dirty="0"/>
          </a:p>
          <a:p>
            <a:pPr marL="182562" lvl="2" indent="0">
              <a:buNone/>
            </a:pPr>
            <a:r>
              <a:rPr lang="nl-NL" dirty="0"/>
              <a:t>Erfrecht/-belasting</a:t>
            </a:r>
          </a:p>
          <a:p>
            <a:pPr marL="182562" lvl="2" indent="0">
              <a:buNone/>
            </a:pPr>
            <a:r>
              <a:rPr lang="nl-NL" dirty="0"/>
              <a:t>Nalatenschapsafwikkeling</a:t>
            </a:r>
          </a:p>
          <a:p>
            <a:pPr marL="182562" lvl="2" indent="0">
              <a:buNone/>
            </a:pPr>
            <a:r>
              <a:rPr lang="nl-NL" dirty="0"/>
              <a:t>Bankzaken/verzekeringen </a:t>
            </a:r>
          </a:p>
          <a:p>
            <a:pPr marL="182562" lvl="2" indent="0">
              <a:buNone/>
            </a:pPr>
            <a:r>
              <a:rPr lang="nl-NL" dirty="0"/>
              <a:t>Recht op uitkering / (nabestaanden)pensioen</a:t>
            </a:r>
          </a:p>
          <a:p>
            <a:pPr marL="360362" lvl="3" indent="0">
              <a:buNone/>
            </a:pPr>
            <a:endParaRPr lang="nl-NL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3BDA7A5-8C23-45F7-B40D-A90809289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oe werkt het 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C5EA0760-BA52-439F-9501-20D1E6AB3E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720412FB-1007-4A11-8E20-1515E00FF2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383657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E1B31B-BAFC-4464-A5F0-D4D8DB739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0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7E1B31B-BAFC-4464-A5F0-D4D8DB739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59C8D5-10DD-4492-84D5-B17FC385C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Nabestaandenzorg en specialist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DE1B16E-E08E-488E-82A9-8A8BFB76B0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32E241A-63D7-48EB-8C19-260DF087EF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/>
              <a:t>Indien nodig verwijzen we u naar specialisten zoals:</a:t>
            </a:r>
          </a:p>
          <a:p>
            <a:endParaRPr lang="nl-NL" dirty="0"/>
          </a:p>
          <a:p>
            <a:endParaRPr lang="nl-NL" dirty="0"/>
          </a:p>
          <a:p>
            <a:r>
              <a:rPr lang="nl-NL" dirty="0"/>
              <a:t>Notaris</a:t>
            </a:r>
          </a:p>
          <a:p>
            <a:r>
              <a:rPr lang="nl-NL" dirty="0"/>
              <a:t>Executeur</a:t>
            </a:r>
          </a:p>
          <a:p>
            <a:r>
              <a:rPr lang="nl-NL" dirty="0"/>
              <a:t>Belastingadviseur/financiële planner</a:t>
            </a:r>
          </a:p>
          <a:p>
            <a:r>
              <a:rPr lang="nl-NL" dirty="0"/>
              <a:t>Opzegdienst</a:t>
            </a:r>
          </a:p>
          <a:p>
            <a:r>
              <a:rPr lang="nl-NL" dirty="0"/>
              <a:t>Klussenservice</a:t>
            </a:r>
          </a:p>
          <a:p>
            <a:r>
              <a:rPr lang="nl-NL" dirty="0"/>
              <a:t>Hulpverleningsinstanties bij rouwverwerking</a:t>
            </a:r>
          </a:p>
        </p:txBody>
      </p:sp>
    </p:spTree>
    <p:extLst>
      <p:ext uri="{BB962C8B-B14F-4D97-AF65-F5344CB8AC3E}">
        <p14:creationId xmlns:p14="http://schemas.microsoft.com/office/powerpoint/2010/main" val="15258300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E1B31B-BAFC-4464-A5F0-D4D8DB739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4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7E1B31B-BAFC-4464-A5F0-D4D8DB739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59C8D5-10DD-4492-84D5-B17FC385C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oe kunt u zich goed voorbereiden?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DE1B16E-E08E-488E-82A9-8A8BFB76B0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32E241A-63D7-48EB-8C19-260DF087EF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l-NL" dirty="0"/>
              <a:t>Zorg dat uw nabestaanden uw administratie weten te vinden en evt. wachtwoorden</a:t>
            </a:r>
          </a:p>
          <a:p>
            <a:endParaRPr lang="nl-NL" dirty="0"/>
          </a:p>
          <a:p>
            <a:r>
              <a:rPr lang="nl-NL" dirty="0"/>
              <a:t>Zorg dat u –wanneer u internet bankiert- ook nog papieren afdrukken maakt van uw rekeningafschriften</a:t>
            </a:r>
          </a:p>
          <a:p>
            <a:endParaRPr lang="nl-NL" dirty="0"/>
          </a:p>
          <a:p>
            <a:r>
              <a:rPr lang="nl-NL" dirty="0"/>
              <a:t>Zorg dat uw nabestaanden weten hoe uw uitvaartwensen eruit zien. </a:t>
            </a:r>
          </a:p>
        </p:txBody>
      </p:sp>
    </p:spTree>
    <p:extLst>
      <p:ext uri="{BB962C8B-B14F-4D97-AF65-F5344CB8AC3E}">
        <p14:creationId xmlns:p14="http://schemas.microsoft.com/office/powerpoint/2010/main" val="16861869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3DC7A44B-0E24-4BAC-AE30-A3AEB863F0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l-NL" dirty="0"/>
              <a:t>Nadenken over de dood, is nadenken over het lev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DA643A3-C53F-4E97-A2FE-C81C4A087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Uitvaartwensen vastleggen</a:t>
            </a:r>
          </a:p>
        </p:txBody>
      </p:sp>
      <p:sp>
        <p:nvSpPr>
          <p:cNvPr id="4" name="Ondertitel 3">
            <a:extLst>
              <a:ext uri="{FF2B5EF4-FFF2-40B4-BE49-F238E27FC236}">
                <a16:creationId xmlns:a16="http://schemas.microsoft.com/office/drawing/2014/main" id="{484407A0-15B6-4A38-8ABF-BC2EE0D025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Doorgeven, doorleven</a:t>
            </a:r>
          </a:p>
        </p:txBody>
      </p:sp>
    </p:spTree>
    <p:extLst>
      <p:ext uri="{BB962C8B-B14F-4D97-AF65-F5344CB8AC3E}">
        <p14:creationId xmlns:p14="http://schemas.microsoft.com/office/powerpoint/2010/main" val="26519747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E1B31B-BAFC-4464-A5F0-D4D8DB739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1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7E1B31B-BAFC-4464-A5F0-D4D8DB739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759C8D5-10DD-4492-84D5-B17FC385C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telling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DE1B16E-E08E-488E-82A9-8A8BFB76B0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32BBB9B0-7CBF-499E-9A12-8BDE7F0CDBAB}"/>
              </a:ext>
            </a:extLst>
          </p:cNvPr>
          <p:cNvGraphicFramePr/>
          <p:nvPr/>
        </p:nvGraphicFramePr>
        <p:xfrm>
          <a:off x="863600" y="1384300"/>
          <a:ext cx="6661150" cy="32750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72298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_mz51QRQKsc4np5Axfk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_mz51QRQKsc4np5Axfk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_mz51QRQKsc4np5Axfk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_mz51QRQKsc4np5Axfk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s_N6xQrWrVTxCflz7n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s_N6xQrWrVTxCflz7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4zeUNFSRy1dVSxOM.t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4vE4iQsuxi00.ll1u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s_N6xQrWrVTxCflz7n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s_N6xQrWrVTxCflz7n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NegwVDTiG4Qv1kT24ov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s_N6xQrWrVTxCflz7n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s_N6xQrWrVTxCflz7n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nbj.wWR0i011.JqGL1v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nbj.wWR0i011.JqGL1v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4vE4iQsuxi00.ll1u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_mz51QRQKsc4np5Axfk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s_N6xQrWrVTxCflz7n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s_N6xQrWrVTxCflz7n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_mz51QRQKsc4np5Axfk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_mz51QRQKsc4np5Axfk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_mz51QRQKsc4np5AxfkA"/>
</p:tagLst>
</file>

<file path=ppt/theme/theme1.xml><?xml version="1.0" encoding="utf-8"?>
<a:theme xmlns:a="http://schemas.openxmlformats.org/drawingml/2006/main" name="DELA met logo">
  <a:themeElements>
    <a:clrScheme name="Dela">
      <a:dk1>
        <a:sysClr val="windowText" lastClr="000000"/>
      </a:dk1>
      <a:lt1>
        <a:sysClr val="window" lastClr="FFFFFF"/>
      </a:lt1>
      <a:dk2>
        <a:srgbClr val="4E738A"/>
      </a:dk2>
      <a:lt2>
        <a:srgbClr val="FFFFFF"/>
      </a:lt2>
      <a:accent1>
        <a:srgbClr val="1C82F0"/>
      </a:accent1>
      <a:accent2>
        <a:srgbClr val="773DBD"/>
      </a:accent2>
      <a:accent3>
        <a:srgbClr val="76BC21"/>
      </a:accent3>
      <a:accent4>
        <a:srgbClr val="EE7623"/>
      </a:accent4>
      <a:accent5>
        <a:srgbClr val="C89211"/>
      </a:accent5>
      <a:accent6>
        <a:srgbClr val="003B71"/>
      </a:accent6>
      <a:hlink>
        <a:srgbClr val="4E738A"/>
      </a:hlink>
      <a:folHlink>
        <a:srgbClr val="4E738A"/>
      </a:folHlink>
    </a:clrScheme>
    <a:fontScheme name="Del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15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05000"/>
          </a:lnSpc>
          <a:defRPr sz="15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5-1 Blanco DELA Basis Presenatie 2018.potx" id="{9AF8D5B9-7C59-43EE-B49D-145F21AF6377}" vid="{76BA935A-2071-4E2A-81E3-346580099F67}"/>
    </a:ext>
  </a:extLst>
</a:theme>
</file>

<file path=ppt/theme/theme2.xml><?xml version="1.0" encoding="utf-8"?>
<a:theme xmlns:a="http://schemas.openxmlformats.org/drawingml/2006/main" name="DELA zonder logo">
  <a:themeElements>
    <a:clrScheme name="Dela">
      <a:dk1>
        <a:sysClr val="windowText" lastClr="000000"/>
      </a:dk1>
      <a:lt1>
        <a:sysClr val="window" lastClr="FFFFFF"/>
      </a:lt1>
      <a:dk2>
        <a:srgbClr val="4E738A"/>
      </a:dk2>
      <a:lt2>
        <a:srgbClr val="FFFFFF"/>
      </a:lt2>
      <a:accent1>
        <a:srgbClr val="1C82F0"/>
      </a:accent1>
      <a:accent2>
        <a:srgbClr val="773DBD"/>
      </a:accent2>
      <a:accent3>
        <a:srgbClr val="76BC21"/>
      </a:accent3>
      <a:accent4>
        <a:srgbClr val="EE7623"/>
      </a:accent4>
      <a:accent5>
        <a:srgbClr val="C89211"/>
      </a:accent5>
      <a:accent6>
        <a:srgbClr val="003B71"/>
      </a:accent6>
      <a:hlink>
        <a:srgbClr val="4E738A"/>
      </a:hlink>
      <a:folHlink>
        <a:srgbClr val="4E738A"/>
      </a:folHlink>
    </a:clrScheme>
    <a:fontScheme name="Del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15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05000"/>
          </a:lnSpc>
          <a:defRPr sz="15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5-1 Blanco DELA Basis Presenatie 2018.potx" id="{9AF8D5B9-7C59-43EE-B49D-145F21AF6377}" vid="{8235B6B4-FB1C-4F26-9BE3-DC240E10EC58}"/>
    </a:ext>
  </a:extLst>
</a:theme>
</file>

<file path=ppt/theme/theme3.xml><?xml version="1.0" encoding="utf-8"?>
<a:theme xmlns:a="http://schemas.openxmlformats.org/drawingml/2006/main" name="Kantoorthema">
  <a:themeElements>
    <a:clrScheme name="Dela">
      <a:dk1>
        <a:sysClr val="windowText" lastClr="000000"/>
      </a:dk1>
      <a:lt1>
        <a:sysClr val="window" lastClr="FFFFFF"/>
      </a:lt1>
      <a:dk2>
        <a:srgbClr val="4E738A"/>
      </a:dk2>
      <a:lt2>
        <a:srgbClr val="FFFFFF"/>
      </a:lt2>
      <a:accent1>
        <a:srgbClr val="1C82F0"/>
      </a:accent1>
      <a:accent2>
        <a:srgbClr val="773DBD"/>
      </a:accent2>
      <a:accent3>
        <a:srgbClr val="76BC21"/>
      </a:accent3>
      <a:accent4>
        <a:srgbClr val="EE7623"/>
      </a:accent4>
      <a:accent5>
        <a:srgbClr val="C89212"/>
      </a:accent5>
      <a:accent6>
        <a:srgbClr val="007DA4"/>
      </a:accent6>
      <a:hlink>
        <a:srgbClr val="4E738A"/>
      </a:hlink>
      <a:folHlink>
        <a:srgbClr val="4E738A"/>
      </a:folHlink>
    </a:clrScheme>
    <a:fontScheme name="Del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Dela">
      <a:dk1>
        <a:sysClr val="windowText" lastClr="000000"/>
      </a:dk1>
      <a:lt1>
        <a:sysClr val="window" lastClr="FFFFFF"/>
      </a:lt1>
      <a:dk2>
        <a:srgbClr val="4E738A"/>
      </a:dk2>
      <a:lt2>
        <a:srgbClr val="FFFFFF"/>
      </a:lt2>
      <a:accent1>
        <a:srgbClr val="1C82F0"/>
      </a:accent1>
      <a:accent2>
        <a:srgbClr val="773DBD"/>
      </a:accent2>
      <a:accent3>
        <a:srgbClr val="76BC21"/>
      </a:accent3>
      <a:accent4>
        <a:srgbClr val="EE7623"/>
      </a:accent4>
      <a:accent5>
        <a:srgbClr val="C89212"/>
      </a:accent5>
      <a:accent6>
        <a:srgbClr val="007DA4"/>
      </a:accent6>
      <a:hlink>
        <a:srgbClr val="4E738A"/>
      </a:hlink>
      <a:folHlink>
        <a:srgbClr val="4E738A"/>
      </a:folHlink>
    </a:clrScheme>
    <a:fontScheme name="Del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co DELA Basis Presenatie 2018</Template>
  <TotalTime>291</TotalTime>
  <Words>415</Words>
  <Application>Microsoft Office PowerPoint</Application>
  <PresentationFormat>Diavoorstelling (16:9)</PresentationFormat>
  <Paragraphs>100</Paragraphs>
  <Slides>14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4</vt:i4>
      </vt:variant>
    </vt:vector>
  </HeadingPairs>
  <TitlesOfParts>
    <vt:vector size="21" baseType="lpstr">
      <vt:lpstr>Arial</vt:lpstr>
      <vt:lpstr>Lato</vt:lpstr>
      <vt:lpstr>Symbol</vt:lpstr>
      <vt:lpstr>Verdana</vt:lpstr>
      <vt:lpstr>DELA met logo</vt:lpstr>
      <vt:lpstr>DELA zonder logo</vt:lpstr>
      <vt:lpstr>think-cell Slide</vt:lpstr>
      <vt:lpstr>Uitvaartwensen vastleggen en Nabestaandenzorg</vt:lpstr>
      <vt:lpstr>PowerPoint-presentatie</vt:lpstr>
      <vt:lpstr>Wat is nabestaandenzorg</vt:lpstr>
      <vt:lpstr>Voor wie</vt:lpstr>
      <vt:lpstr>Hoe werkt het </vt:lpstr>
      <vt:lpstr>Nabestaandenzorg en specialisten</vt:lpstr>
      <vt:lpstr>Hoe kunt u zich goed voorbereiden?</vt:lpstr>
      <vt:lpstr>Uitvaartwensen vastleggen</vt:lpstr>
      <vt:lpstr>Stellingen</vt:lpstr>
      <vt:lpstr>Waarom iets regelen?</vt:lpstr>
      <vt:lpstr>Hoe kan ik mijn wensen kenbaar maken?</vt:lpstr>
      <vt:lpstr>Waar kan ik alvast over nadenken?</vt:lpstr>
      <vt:lpstr>Kortom:</vt:lpstr>
      <vt:lpstr>Vragen?  Dank voor uw aandach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itvaartwensen vastleggen en Nabestaandenzorg</dc:title>
  <dc:creator>Roger Mutsaers</dc:creator>
  <cp:lastModifiedBy>Roger Mutsaers</cp:lastModifiedBy>
  <cp:revision>13</cp:revision>
  <dcterms:created xsi:type="dcterms:W3CDTF">2019-09-27T10:15:45Z</dcterms:created>
  <dcterms:modified xsi:type="dcterms:W3CDTF">2019-10-15T17:06:43Z</dcterms:modified>
</cp:coreProperties>
</file>